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notesSlides/notesSlide4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2"/>
  </p:notesMasterIdLst>
  <p:handoutMasterIdLst>
    <p:handoutMasterId r:id="rId13"/>
  </p:handoutMasterIdLst>
  <p:sldIdLst>
    <p:sldId id="258" r:id="rId2"/>
    <p:sldId id="259" r:id="rId3"/>
    <p:sldId id="267" r:id="rId4"/>
    <p:sldId id="260" r:id="rId5"/>
    <p:sldId id="261" r:id="rId6"/>
    <p:sldId id="263" r:id="rId7"/>
    <p:sldId id="262" r:id="rId8"/>
    <p:sldId id="264" r:id="rId9"/>
    <p:sldId id="265" r:id="rId10"/>
    <p:sldId id="266" r:id="rId1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C5E174F6-138D-81B4-7E85-ABF0B41800E8}" name="Antonia Cichocki" initials="AC" userId="S::antonia.cichocki@myAbility.org::ecf6a694-f593-4f3a-b8bd-507961944931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B882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37670" autoAdjust="0"/>
    <p:restoredTop sz="75497" autoAdjust="0"/>
  </p:normalViewPr>
  <p:slideViewPr>
    <p:cSldViewPr snapToGrid="0">
      <p:cViewPr varScale="1">
        <p:scale>
          <a:sx n="44" d="100"/>
          <a:sy n="44" d="100"/>
        </p:scale>
        <p:origin x="656" y="3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49" d="100"/>
          <a:sy n="49" d="100"/>
        </p:scale>
        <p:origin x="2668" y="5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handoutMaster" Target="handoutMasters/handoutMaster1.xml"/><Relationship Id="rId18" Type="http://schemas.microsoft.com/office/2018/10/relationships/authors" Target="author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0C92A86-C5C9-6113-6AC7-4064BBD0948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6277400-9A88-4A14-1B97-2E611F2842E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F4067AC-4DA6-47DD-9DAA-82F8496AEA1D}" type="datetimeFigureOut">
              <a:rPr lang="en-GB" smtClean="0"/>
              <a:t>18/02/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149F3E-834F-ADBB-A517-1E7341E464A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F16239-9E04-27B8-09A3-ACB4AC19F63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862F9E2-E68F-463D-B409-4BB1E4E53707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364850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1BB6916-6BB4-491D-A9F6-98CF7382B083}" type="datetimeFigureOut">
              <a:rPr lang="en-GB" smtClean="0"/>
              <a:t>18/02/2025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A8881E3-068B-48DF-8881-A991B8AEA704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735567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lease add your notes here.</a:t>
            </a:r>
          </a:p>
          <a:p>
            <a:r>
              <a:rPr lang="en-US" dirty="0"/>
              <a:t>Title; First name, last name of speaker(s); Name of Organization, Name of Country, Name of Session (as written in Agenda)</a:t>
            </a:r>
          </a:p>
          <a:p>
            <a:r>
              <a:rPr lang="en-US" dirty="0"/>
              <a:t>#ZeroCon24</a:t>
            </a:r>
          </a:p>
          <a:p>
            <a:r>
              <a:rPr lang="en-US" dirty="0"/>
              <a:t>Day and Time of Session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8881E3-068B-48DF-8881-A991B8AEA704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7822009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ample Slide: presenting three points on our project and the relationship to this year’s theme of the Zero Project Conference. Point 1; Point 2; Point 3 connect together </a:t>
            </a:r>
            <a:r>
              <a:rPr lang="en-US"/>
              <a:t>in this way. 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8881E3-068B-48DF-8881-A991B8AEA704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0333221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8881E3-068B-48DF-8881-A991B8AEA704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7973652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8881E3-068B-48DF-8881-A991B8AEA704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60891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14B8CD-9207-0F5A-87AB-B27A517BCE8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AA2C4F2-5991-51CC-558C-A4D5E1F7B12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EA569FD-5A00-3B11-103C-21BA8A71B2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95A9E4-2CE9-4E32-BE85-7C32F0F78A6D}" type="slidenum">
              <a:rPr lang="en-GB" smtClean="0"/>
              <a:t>‹Nr.›</a:t>
            </a:fld>
            <a:endParaRPr lang="en-GB"/>
          </a:p>
        </p:txBody>
      </p:sp>
      <p:pic>
        <p:nvPicPr>
          <p:cNvPr id="9" name="Picture 8" descr="Zero Project Plant: an icon showing a green seedling breaking through a circle.">
            <a:extLst>
              <a:ext uri="{FF2B5EF4-FFF2-40B4-BE49-F238E27FC236}">
                <a16:creationId xmlns:a16="http://schemas.microsoft.com/office/drawing/2014/main" id="{0F1C7164-87D9-4217-364F-45206FDAD5F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30714" y="155575"/>
            <a:ext cx="767583" cy="76835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8F0236DA-C301-789C-C8AF-938A5F826071}"/>
              </a:ext>
            </a:extLst>
          </p:cNvPr>
          <p:cNvSpPr txBox="1"/>
          <p:nvPr userDrawn="1"/>
        </p:nvSpPr>
        <p:spPr>
          <a:xfrm>
            <a:off x="393290" y="276328"/>
            <a:ext cx="8339893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200" b="0" dirty="0">
                <a:solidFill>
                  <a:srgbClr val="2B882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ero Project Conference 2025 (#ZeroCon25)</a:t>
            </a:r>
            <a:endParaRPr lang="en-GB" sz="3200" b="0" dirty="0">
              <a:solidFill>
                <a:srgbClr val="2B882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25722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99A398-607E-19AA-2FA2-6A9486FF41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A67A71F-93D1-3FE1-9D98-47190B6F938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34B76AF-A44B-BCC8-6368-2FCB924767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2FF940-A1E4-49C1-A94C-258B66B1FEFB}" type="datetime1">
              <a:rPr lang="en-GB" smtClean="0"/>
              <a:t>18/02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28CFEDC-9A6E-A3AD-47BB-4544BD9856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#ZeroCon25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A38CCB9-6F66-B343-A239-09809FB7E7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95A9E4-2CE9-4E32-BE85-7C32F0F78A6D}" type="slidenum">
              <a:rPr lang="en-GB" smtClean="0"/>
              <a:t>‹Nr.›</a:t>
            </a:fld>
            <a:endParaRPr lang="en-GB"/>
          </a:p>
        </p:txBody>
      </p:sp>
      <p:pic>
        <p:nvPicPr>
          <p:cNvPr id="7" name="Picture 6" descr="Zero Project Plant: an icon showing a green seedling breaking through a circle.">
            <a:extLst>
              <a:ext uri="{FF2B5EF4-FFF2-40B4-BE49-F238E27FC236}">
                <a16:creationId xmlns:a16="http://schemas.microsoft.com/office/drawing/2014/main" id="{D6B42D19-6742-C21D-3E3A-50AF0056C0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30714" y="155575"/>
            <a:ext cx="767583" cy="768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196252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138C57BD-472C-6054-F85B-C6E7EBFD784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0A5734E-BF7C-6ADA-36DF-8345F81F3D9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69FA9AB-245D-7C9C-7F7C-F0DDADFC86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DA194E-3B7B-4619-9F0B-8946120CC2C2}" type="datetime1">
              <a:rPr lang="en-GB" smtClean="0"/>
              <a:t>18/02/2025</a:t>
            </a:fld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88715A0-7D97-C371-F46C-459234CE37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95A9E4-2CE9-4E32-BE85-7C32F0F78A6D}" type="slidenum">
              <a:rPr lang="en-GB" smtClean="0"/>
              <a:t>‹Nr.›</a:t>
            </a:fld>
            <a:endParaRPr lang="en-GB"/>
          </a:p>
        </p:txBody>
      </p:sp>
      <p:pic>
        <p:nvPicPr>
          <p:cNvPr id="7" name="Picture 6" descr="Zero Project Plant: an icon showing a green seedling breaking through a circle.">
            <a:extLst>
              <a:ext uri="{FF2B5EF4-FFF2-40B4-BE49-F238E27FC236}">
                <a16:creationId xmlns:a16="http://schemas.microsoft.com/office/drawing/2014/main" id="{A92BB482-4C0F-1893-218E-340DCE3E41C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30714" y="155575"/>
            <a:ext cx="767583" cy="768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046545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32CDE7-D24B-A1C8-5E44-202ABECFC7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E62AA8D-420E-E8B5-CDB6-88D3206323B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5C8133A-0964-2A2C-F557-E8A9D21E46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89F230-EE29-4360-9E5D-C4AB95018DB3}" type="datetime1">
              <a:rPr lang="en-GB" smtClean="0"/>
              <a:t>18/02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26AD633-B6D6-91FA-64FB-501EA2FB2B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#ZeroCon25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7EAAD51-9D5D-25E1-F465-809F007ECF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95A9E4-2CE9-4E32-BE85-7C32F0F78A6D}" type="slidenum">
              <a:rPr lang="en-GB" smtClean="0"/>
              <a:t>‹Nr.›</a:t>
            </a:fld>
            <a:endParaRPr lang="en-GB"/>
          </a:p>
        </p:txBody>
      </p:sp>
      <p:pic>
        <p:nvPicPr>
          <p:cNvPr id="8" name="Picture 7" descr="Zero Project Plant: an icon showing a green seedling breaking through a circle.">
            <a:extLst>
              <a:ext uri="{FF2B5EF4-FFF2-40B4-BE49-F238E27FC236}">
                <a16:creationId xmlns:a16="http://schemas.microsoft.com/office/drawing/2014/main" id="{87A3ADA9-529C-6BD8-8B18-D8970777229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30714" y="155575"/>
            <a:ext cx="767583" cy="768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2037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2D86FF-9CEB-1D25-2E90-369E9B0FF7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E08384C-F6AC-F088-2F50-A86FF934D8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0C40FCB-67DF-CE66-B624-667997970E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7C451A-BAE8-4BB7-B4A9-840375C61CF2}" type="datetime1">
              <a:rPr lang="en-GB" smtClean="0"/>
              <a:t>18/02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6D9611E-370E-03AF-C519-6268D0A663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#ZeroCon25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F8EE00-A0DC-F045-A7B2-6D6970D172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95A9E4-2CE9-4E32-BE85-7C32F0F78A6D}" type="slidenum">
              <a:rPr lang="en-GB" smtClean="0"/>
              <a:t>‹Nr.›</a:t>
            </a:fld>
            <a:endParaRPr lang="en-GB"/>
          </a:p>
        </p:txBody>
      </p:sp>
      <p:pic>
        <p:nvPicPr>
          <p:cNvPr id="8" name="Picture 7" descr="Zero Project Plant: an icon showing a green seedling breaking through a circle.">
            <a:extLst>
              <a:ext uri="{FF2B5EF4-FFF2-40B4-BE49-F238E27FC236}">
                <a16:creationId xmlns:a16="http://schemas.microsoft.com/office/drawing/2014/main" id="{88684AF3-AE79-E964-B9D1-32174968E2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30714" y="155575"/>
            <a:ext cx="767583" cy="768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281359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F0645F-4ADB-34A8-8348-8DA5EC0B3F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07DEFF4-799C-B171-FDEC-9F32D3683D1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2E9D5E4-9475-B9C9-B19F-C6F90A2573C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ED3DB3A-533A-A389-C798-9BB43D1F7D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1F48CE-F800-44D8-9FB8-C2F14BB717AF}" type="datetime1">
              <a:rPr lang="en-GB" smtClean="0"/>
              <a:t>18/02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A692D28-6A9A-84C4-8E6F-E19FDA416B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#ZeroCon25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67EFDAC-0A32-E484-69C9-CAC7902FDD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95A9E4-2CE9-4E32-BE85-7C32F0F78A6D}" type="slidenum">
              <a:rPr lang="en-GB" smtClean="0"/>
              <a:t>‹Nr.›</a:t>
            </a:fld>
            <a:endParaRPr lang="en-GB"/>
          </a:p>
        </p:txBody>
      </p:sp>
      <p:pic>
        <p:nvPicPr>
          <p:cNvPr id="8" name="Picture 7" descr="Zero Project Plant: an icon showing a green seedling breaking through a circle.">
            <a:extLst>
              <a:ext uri="{FF2B5EF4-FFF2-40B4-BE49-F238E27FC236}">
                <a16:creationId xmlns:a16="http://schemas.microsoft.com/office/drawing/2014/main" id="{509410CA-2628-6086-32C8-F078A3F00DF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30714" y="155575"/>
            <a:ext cx="767583" cy="768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812261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82298A-1F8E-C04A-F0FC-303981F888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C04B0BE-77C8-FC6F-2D01-52EA579BE89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A30E7F1-9FCB-C624-0AD0-0B4362A9CC7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E940BA5-6077-6C83-9A0A-D929E135311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81A5F4E-F46E-F9D4-EB91-01F3AF3BB7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2A89E74-A823-F039-110E-16DB1050A2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BEAA53-9EBB-475F-81CE-60A0FA17D35A}" type="datetime1">
              <a:rPr lang="en-GB" smtClean="0"/>
              <a:t>18/02/2025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D5C4120-5D85-2DAB-1B82-679CBFE0F3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#ZeroCon25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22AED93-B0A6-16E2-54DD-BAC7D1CFF0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95A9E4-2CE9-4E32-BE85-7C32F0F78A6D}" type="slidenum">
              <a:rPr lang="en-GB" smtClean="0"/>
              <a:t>‹Nr.›</a:t>
            </a:fld>
            <a:endParaRPr lang="en-GB"/>
          </a:p>
        </p:txBody>
      </p:sp>
      <p:pic>
        <p:nvPicPr>
          <p:cNvPr id="10" name="Picture 9" descr="Zero Project Plant: an icon showing a green seedling breaking through a circle.">
            <a:extLst>
              <a:ext uri="{FF2B5EF4-FFF2-40B4-BE49-F238E27FC236}">
                <a16:creationId xmlns:a16="http://schemas.microsoft.com/office/drawing/2014/main" id="{6C21E80C-5188-0E99-CB29-5452401034F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30714" y="155575"/>
            <a:ext cx="767583" cy="768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9702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CEC525-402E-F69C-210B-5268E9E93C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2CFC308-6A34-9878-DECA-D72CAED769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3E1DF0-723F-4583-B7C7-FD8C4EA08810}" type="datetime1">
              <a:rPr lang="en-GB" smtClean="0"/>
              <a:t>18/02/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250079B-A083-6A7F-4194-BA4D85C488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#ZeroCon25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06EC79D-9860-3786-8D4E-46E02CC0EC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95A9E4-2CE9-4E32-BE85-7C32F0F78A6D}" type="slidenum">
              <a:rPr lang="en-GB" smtClean="0"/>
              <a:t>‹Nr.›</a:t>
            </a:fld>
            <a:endParaRPr lang="en-GB"/>
          </a:p>
        </p:txBody>
      </p:sp>
      <p:pic>
        <p:nvPicPr>
          <p:cNvPr id="6" name="Picture 5" descr="Zero Project Plant: an icon showing a green seedling breaking through a circle.">
            <a:extLst>
              <a:ext uri="{FF2B5EF4-FFF2-40B4-BE49-F238E27FC236}">
                <a16:creationId xmlns:a16="http://schemas.microsoft.com/office/drawing/2014/main" id="{9B978296-E8D6-80D7-911A-F4F68A8F611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30714" y="155575"/>
            <a:ext cx="767583" cy="768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931851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DBA8C4-CBF7-6C7C-BB26-6A44D83DE5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0F14AC-2947-477D-A5A3-42D95CFB8153}" type="datetime1">
              <a:rPr lang="en-GB" smtClean="0"/>
              <a:t>18/02/2025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0A765CF-3B46-DDD1-5D61-DEE3956934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#ZeroCon25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D92119D-5AC0-FA92-AC8A-20B4D8168F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95A9E4-2CE9-4E32-BE85-7C32F0F78A6D}" type="slidenum">
              <a:rPr lang="en-GB" smtClean="0"/>
              <a:t>‹Nr.›</a:t>
            </a:fld>
            <a:endParaRPr lang="en-GB"/>
          </a:p>
        </p:txBody>
      </p:sp>
      <p:pic>
        <p:nvPicPr>
          <p:cNvPr id="5" name="Picture 4" descr="Zero Project Plant: an icon showing a green seedling breaking through a circle.">
            <a:extLst>
              <a:ext uri="{FF2B5EF4-FFF2-40B4-BE49-F238E27FC236}">
                <a16:creationId xmlns:a16="http://schemas.microsoft.com/office/drawing/2014/main" id="{D0459225-7B96-6284-00B2-CF639F8926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30714" y="155575"/>
            <a:ext cx="767583" cy="768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280532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685413-E692-6DD2-584B-C153D1CDA3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1573494-908C-8287-2878-B8109DD71A1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5E99BDB-AE6B-E7B3-79DD-6DA3BEF4359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8EEE4D6-70C6-0DAC-3D3B-CEF908DC77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BA894F-2169-40F5-A488-0DED1E32D92D}" type="datetime1">
              <a:rPr lang="en-GB" smtClean="0"/>
              <a:t>18/02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49C3971-79A3-C209-564C-BD5D9D86E4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#ZeroCon25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0402702-277B-3ACF-851A-C0C404ED8B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95A9E4-2CE9-4E32-BE85-7C32F0F78A6D}" type="slidenum">
              <a:rPr lang="en-GB" smtClean="0"/>
              <a:t>‹Nr.›</a:t>
            </a:fld>
            <a:endParaRPr lang="en-GB"/>
          </a:p>
        </p:txBody>
      </p:sp>
      <p:pic>
        <p:nvPicPr>
          <p:cNvPr id="8" name="Picture 7" descr="Zero Project Plant: an icon showing a green seedling breaking through a circle.">
            <a:extLst>
              <a:ext uri="{FF2B5EF4-FFF2-40B4-BE49-F238E27FC236}">
                <a16:creationId xmlns:a16="http://schemas.microsoft.com/office/drawing/2014/main" id="{2A8373D0-4AD4-04E7-6DAC-6E1FA947001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30714" y="155575"/>
            <a:ext cx="767583" cy="768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966570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DB3E06-41AF-0ACA-CCBD-F5BAB7AC31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16BC9B1-E8C2-C7D8-0ACB-3D5B734FE3E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278FB8E-65FD-4C56-E3A9-054836CB1FA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8E3F7DA-8E45-6DD8-7482-BC161C4701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800F5A-532D-4F87-AB6D-3F2ECE8BF666}" type="datetime1">
              <a:rPr lang="en-GB" smtClean="0"/>
              <a:t>18/02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0FDB1F6-A587-5CC5-B4A1-6CBC2452ED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#ZeroCon25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C3402A9-A0E0-7045-EA1F-7AA57991E9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95A9E4-2CE9-4E32-BE85-7C32F0F78A6D}" type="slidenum">
              <a:rPr lang="en-GB" smtClean="0"/>
              <a:t>‹Nr.›</a:t>
            </a:fld>
            <a:endParaRPr lang="en-GB"/>
          </a:p>
        </p:txBody>
      </p:sp>
      <p:pic>
        <p:nvPicPr>
          <p:cNvPr id="8" name="Picture 7" descr="Zero Project Plant: an icon showing a green seedling breaking through a circle.">
            <a:extLst>
              <a:ext uri="{FF2B5EF4-FFF2-40B4-BE49-F238E27FC236}">
                <a16:creationId xmlns:a16="http://schemas.microsoft.com/office/drawing/2014/main" id="{C97FE7C3-62EE-EBCF-7381-9E13CB86ECE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30714" y="155575"/>
            <a:ext cx="767583" cy="768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217514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E2E7B3E-0706-1677-9A9E-33403CEB9F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3344282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4" imgW="416" imgH="416" progId="TCLayout.ActiveDocument.1">
                  <p:embed/>
                </p:oleObj>
              </mc:Choice>
              <mc:Fallback>
                <p:oleObj name="think-cell Folie" r:id="rId14" imgW="416" imgH="41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E2E7B3E-0706-1677-9A9E-33403CEB9F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2C4DFD2-A48F-938F-9C39-58C9547BD1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11346B3-1FB5-CBE0-B15E-5E254CF78A1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792518"/>
            <a:ext cx="10515600" cy="386122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7D545C8-B46A-1919-AEB8-64178D1CD98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EF3C978-C8B7-45B7-A1FD-262897265120}" type="datetime1">
              <a:rPr lang="en-GB" smtClean="0"/>
              <a:t>18/02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1ACA2EC-9AAA-A334-BAFC-D20203C40D1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2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#ZeroCon25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2F4DD50-8E12-ED09-0BAF-BA8058E0E33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195A9E4-2CE9-4E32-BE85-7C32F0F78A6D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55874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Roboto" panose="02000000000000000000" pitchFamily="2" charset="0"/>
          <a:ea typeface="Roboto" panose="02000000000000000000" pitchFamily="2" charset="0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Roboto" panose="02000000000000000000" pitchFamily="2" charset="0"/>
          <a:ea typeface="Roboto" panose="02000000000000000000" pitchFamily="2" charset="0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Roboto" panose="02000000000000000000" pitchFamily="2" charset="0"/>
          <a:ea typeface="Roboto" panose="02000000000000000000" pitchFamily="2" charset="0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Roboto" panose="02000000000000000000" pitchFamily="2" charset="0"/>
          <a:ea typeface="Roboto" panose="02000000000000000000" pitchFamily="2" charset="0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Roboto" panose="02000000000000000000" pitchFamily="2" charset="0"/>
          <a:ea typeface="Roboto" panose="02000000000000000000" pitchFamily="2" charset="0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Roboto" panose="02000000000000000000" pitchFamily="2" charset="0"/>
          <a:ea typeface="Roboto" panose="02000000000000000000" pitchFamily="2" charset="0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1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hyperlink" Target="mailto:anna.herzog@myAbility.org" TargetMode="Externa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13" Type="http://schemas.openxmlformats.org/officeDocument/2006/relationships/image" Target="../media/image11.png"/><Relationship Id="rId18" Type="http://schemas.openxmlformats.org/officeDocument/2006/relationships/image" Target="../media/image16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5.svg"/><Relationship Id="rId12" Type="http://schemas.openxmlformats.org/officeDocument/2006/relationships/image" Target="../media/image10.svg"/><Relationship Id="rId17" Type="http://schemas.openxmlformats.org/officeDocument/2006/relationships/image" Target="../media/image15.png"/><Relationship Id="rId2" Type="http://schemas.openxmlformats.org/officeDocument/2006/relationships/slideLayout" Target="../slideLayouts/slideLayout4.xml"/><Relationship Id="rId16" Type="http://schemas.openxmlformats.org/officeDocument/2006/relationships/image" Target="../media/image14.png"/><Relationship Id="rId1" Type="http://schemas.openxmlformats.org/officeDocument/2006/relationships/tags" Target="../tags/tag5.xml"/><Relationship Id="rId6" Type="http://schemas.openxmlformats.org/officeDocument/2006/relationships/image" Target="../media/image4.png"/><Relationship Id="rId11" Type="http://schemas.openxmlformats.org/officeDocument/2006/relationships/image" Target="../media/image9.png"/><Relationship Id="rId5" Type="http://schemas.openxmlformats.org/officeDocument/2006/relationships/image" Target="../media/image1.emf"/><Relationship Id="rId15" Type="http://schemas.openxmlformats.org/officeDocument/2006/relationships/image" Target="../media/image13.jpeg"/><Relationship Id="rId10" Type="http://schemas.openxmlformats.org/officeDocument/2006/relationships/image" Target="../media/image8.svg"/><Relationship Id="rId19" Type="http://schemas.openxmlformats.org/officeDocument/2006/relationships/image" Target="../media/image17.png"/><Relationship Id="rId4" Type="http://schemas.openxmlformats.org/officeDocument/2006/relationships/oleObject" Target="../embeddings/oleObject5.bin"/><Relationship Id="rId9" Type="http://schemas.openxmlformats.org/officeDocument/2006/relationships/image" Target="../media/image7.png"/><Relationship Id="rId14" Type="http://schemas.openxmlformats.org/officeDocument/2006/relationships/image" Target="../media/image12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6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7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8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9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0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9E34742B-5EB5-6317-DA7F-34F1B71495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189883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6" imgH="416" progId="TCLayout.ActiveDocument.1">
                  <p:embed/>
                </p:oleObj>
              </mc:Choice>
              <mc:Fallback>
                <p:oleObj name="think-cell Folie" r:id="rId4" imgW="416" imgH="41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E34742B-5EB5-6317-DA7F-34F1B71495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0A782FC-8B01-42F4-8056-DCC2EFED95D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20000" y="1201784"/>
            <a:ext cx="9812958" cy="2073065"/>
          </a:xfrm>
        </p:spPr>
        <p:txBody>
          <a:bodyPr vert="horz">
            <a:normAutofit/>
          </a:bodyPr>
          <a:lstStyle/>
          <a:p>
            <a:r>
              <a:rPr lang="en-US" sz="5400" dirty="0">
                <a:latin typeface="Roboto" panose="02000000000000000000" pitchFamily="2" charset="0"/>
                <a:ea typeface="Roboto" panose="02000000000000000000" pitchFamily="2" charset="0"/>
              </a:rPr>
              <a:t>Reporting Disability Inclusion within ESG Frameworks</a:t>
            </a:r>
            <a:endParaRPr lang="en-GB" sz="5400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8D29E75-4221-A94E-345A-B32600075CE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9451" y="3444665"/>
            <a:ext cx="11234057" cy="2211557"/>
          </a:xfrm>
        </p:spPr>
        <p:txBody>
          <a:bodyPr>
            <a:normAutofit/>
          </a:bodyPr>
          <a:lstStyle/>
          <a:p>
            <a:r>
              <a:rPr lang="en-US" dirty="0">
                <a:latin typeface="Roboto" panose="02000000000000000000" pitchFamily="2" charset="0"/>
                <a:ea typeface="Roboto" panose="02000000000000000000" pitchFamily="2" charset="0"/>
              </a:rPr>
              <a:t>Anna Herzog</a:t>
            </a:r>
          </a:p>
          <a:p>
            <a:r>
              <a:rPr lang="en-US" dirty="0">
                <a:latin typeface="Roboto" panose="02000000000000000000" pitchFamily="2" charset="0"/>
                <a:ea typeface="Roboto" panose="02000000000000000000" pitchFamily="2" charset="0"/>
              </a:rPr>
              <a:t>myAbility Social Enterprise</a:t>
            </a:r>
          </a:p>
          <a:p>
            <a:r>
              <a:rPr lang="en-US" dirty="0">
                <a:latin typeface="Roboto" panose="02000000000000000000" pitchFamily="2" charset="0"/>
                <a:ea typeface="Roboto" panose="02000000000000000000" pitchFamily="2" charset="0"/>
              </a:rPr>
              <a:t>Austria</a:t>
            </a:r>
          </a:p>
          <a:p>
            <a:r>
              <a:rPr lang="en-GB" dirty="0">
                <a:latin typeface="Roboto" panose="02000000000000000000" pitchFamily="2" charset="0"/>
                <a:ea typeface="Roboto" panose="02000000000000000000" pitchFamily="2" charset="0"/>
              </a:rPr>
              <a:t>ESG, Circular Economy and </a:t>
            </a:r>
            <a:r>
              <a:rPr lang="en-GB" dirty="0" err="1">
                <a:latin typeface="Roboto" panose="02000000000000000000" pitchFamily="2" charset="0"/>
                <a:ea typeface="Roboto" panose="02000000000000000000" pitchFamily="2" charset="0"/>
              </a:rPr>
              <a:t>DisAbility</a:t>
            </a:r>
            <a:r>
              <a:rPr lang="en-GB" dirty="0">
                <a:latin typeface="Roboto" panose="02000000000000000000" pitchFamily="2" charset="0"/>
                <a:ea typeface="Roboto" panose="02000000000000000000" pitchFamily="2" charset="0"/>
              </a:rPr>
              <a:t> Inclusion</a:t>
            </a:r>
          </a:p>
        </p:txBody>
      </p:sp>
      <p:sp>
        <p:nvSpPr>
          <p:cNvPr id="4" name="Titel 1">
            <a:extLst>
              <a:ext uri="{FF2B5EF4-FFF2-40B4-BE49-F238E27FC236}">
                <a16:creationId xmlns:a16="http://schemas.microsoft.com/office/drawing/2014/main" id="{E4771D02-F4E4-C632-E5D7-C5E26F71C09C}"/>
              </a:ext>
            </a:extLst>
          </p:cNvPr>
          <p:cNvSpPr txBox="1">
            <a:spLocks/>
          </p:cNvSpPr>
          <p:nvPr/>
        </p:nvSpPr>
        <p:spPr>
          <a:xfrm>
            <a:off x="842554" y="5692088"/>
            <a:ext cx="10567851" cy="84682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2400" b="1" dirty="0">
                <a:latin typeface="Roboto" panose="02000000000000000000" pitchFamily="2" charset="0"/>
                <a:ea typeface="Roboto" panose="02000000000000000000" pitchFamily="2" charset="0"/>
              </a:rPr>
              <a:t>05.03.2025 17:00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9DF2F47-DE12-0075-6EDB-366148F7F1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95A9E4-2CE9-4E32-BE85-7C32F0F78A6D}" type="slidenum">
              <a:rPr lang="en-GB" smtClean="0">
                <a:latin typeface="Roboto" panose="02000000000000000000" pitchFamily="2" charset="0"/>
                <a:ea typeface="Roboto" panose="02000000000000000000" pitchFamily="2" charset="0"/>
              </a:rPr>
              <a:t>1</a:t>
            </a:fld>
            <a:endParaRPr lang="en-GB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437651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876C0B2-B342-8D71-2832-60ECEBBE465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BE2C27AE-7C6D-2EA4-7318-A80F25EC414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34393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2C27AE-7C6D-2EA4-7318-A80F25EC41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CE18F0F-0EA2-CBC5-28AE-4A1F75BD6B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Find </a:t>
            </a:r>
            <a:r>
              <a:rPr lang="de-DE" dirty="0" err="1"/>
              <a:t>more</a:t>
            </a:r>
            <a:r>
              <a:rPr lang="de-DE" dirty="0"/>
              <a:t> </a:t>
            </a:r>
            <a:r>
              <a:rPr lang="de-DE" dirty="0" err="1"/>
              <a:t>details</a:t>
            </a:r>
            <a:r>
              <a:rPr lang="de-DE" dirty="0"/>
              <a:t> in </a:t>
            </a:r>
            <a:r>
              <a:rPr lang="de-DE" dirty="0" err="1"/>
              <a:t>our</a:t>
            </a:r>
            <a:r>
              <a:rPr lang="de-DE" dirty="0"/>
              <a:t> </a:t>
            </a:r>
            <a:r>
              <a:rPr lang="de-DE" dirty="0" err="1"/>
              <a:t>whitepaper</a:t>
            </a:r>
            <a:r>
              <a:rPr lang="de-DE" dirty="0"/>
              <a:t>!</a:t>
            </a:r>
          </a:p>
        </p:txBody>
      </p:sp>
      <p:pic>
        <p:nvPicPr>
          <p:cNvPr id="34" name="Grafik 33" descr="Cover sheet of whitepaper showing title &quot;Quantifying Progress: Inclusion of People with Disabilities in the Workplace&quot;">
            <a:extLst>
              <a:ext uri="{FF2B5EF4-FFF2-40B4-BE49-F238E27FC236}">
                <a16:creationId xmlns:a16="http://schemas.microsoft.com/office/drawing/2014/main" id="{324EEAE9-EFFF-8D86-E407-C5810B8ABEB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095393" y="1651462"/>
            <a:ext cx="2434294" cy="344992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8" name="Inhaltsplatzhalter 1">
            <a:extLst>
              <a:ext uri="{FF2B5EF4-FFF2-40B4-BE49-F238E27FC236}">
                <a16:creationId xmlns:a16="http://schemas.microsoft.com/office/drawing/2014/main" id="{C0654893-17DF-D611-FDB8-637A3FC9CC60}"/>
              </a:ext>
            </a:extLst>
          </p:cNvPr>
          <p:cNvSpPr txBox="1">
            <a:spLocks/>
          </p:cNvSpPr>
          <p:nvPr/>
        </p:nvSpPr>
        <p:spPr>
          <a:xfrm>
            <a:off x="322685" y="5206538"/>
            <a:ext cx="5207002" cy="838039"/>
          </a:xfrm>
          <a:prstGeom prst="rect">
            <a:avLst/>
          </a:prstGeom>
        </p:spPr>
        <p:txBody>
          <a:bodyPr/>
          <a:lstStyle>
            <a:lvl1pPr marL="0" indent="0" algn="l" defTabSz="685800" rtl="0" eaLnBrk="1" latinLnBrk="0" hangingPunct="1">
              <a:lnSpc>
                <a:spcPct val="80000"/>
              </a:lnSpc>
              <a:spcBef>
                <a:spcPts val="750"/>
              </a:spcBef>
              <a:buFont typeface="Arial" panose="020B0604020202020204" pitchFamily="34" charset="0"/>
              <a:buNone/>
              <a:defRPr sz="1800" b="0" kern="120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defRPr>
            </a:lvl1pPr>
            <a:lvl2pPr marL="182563" indent="-182563" algn="l" defTabSz="685800" rtl="0" eaLnBrk="1" latinLnBrk="0" hangingPunct="1">
              <a:lnSpc>
                <a:spcPct val="8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defRPr>
            </a:lvl2pPr>
            <a:lvl3pPr marL="358775" indent="-176213" algn="l" defTabSz="685800" rtl="0" eaLnBrk="1" latinLnBrk="0" hangingPunct="1">
              <a:lnSpc>
                <a:spcPct val="8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defRPr>
            </a:lvl3pPr>
            <a:lvl4pPr marL="538163" indent="-179388" algn="l" defTabSz="685800" rtl="0" eaLnBrk="1" latinLnBrk="0" hangingPunct="1">
              <a:lnSpc>
                <a:spcPct val="8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defRPr>
            </a:lvl4pPr>
            <a:lvl5pPr marL="715963" indent="-177800" algn="l" defTabSz="685800" rtl="0" eaLnBrk="1" latinLnBrk="0" hangingPunct="1">
              <a:lnSpc>
                <a:spcPct val="8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685783"/>
            <a:r>
              <a:rPr lang="de-AT" dirty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Whitepaper „</a:t>
            </a:r>
            <a:r>
              <a:rPr lang="de-AT" dirty="0" err="1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Quantifying</a:t>
            </a:r>
            <a:r>
              <a:rPr lang="de-AT" dirty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Progress: </a:t>
            </a:r>
            <a:r>
              <a:rPr lang="de-AT" dirty="0" err="1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Inclusion</a:t>
            </a:r>
            <a:r>
              <a:rPr lang="de-AT" dirty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AT" dirty="0" err="1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of</a:t>
            </a:r>
            <a:r>
              <a:rPr lang="de-AT" dirty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People </a:t>
            </a:r>
            <a:r>
              <a:rPr lang="de-AT" dirty="0" err="1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with</a:t>
            </a:r>
            <a:r>
              <a:rPr lang="de-AT" dirty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AT" dirty="0" err="1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isabilities</a:t>
            </a:r>
            <a:r>
              <a:rPr lang="de-AT" dirty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in </a:t>
            </a:r>
            <a:r>
              <a:rPr lang="de-AT" dirty="0" err="1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the</a:t>
            </a:r>
            <a:r>
              <a:rPr lang="de-AT" dirty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AT" dirty="0" err="1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Workplace</a:t>
            </a:r>
            <a:r>
              <a:rPr lang="de-AT" dirty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“ </a:t>
            </a:r>
          </a:p>
          <a:p>
            <a:pPr algn="r" defTabSz="685783"/>
            <a:r>
              <a:rPr lang="de-AT" b="1" dirty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ownload </a:t>
            </a:r>
            <a:r>
              <a:rPr lang="de-AT" b="1" dirty="0" err="1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now</a:t>
            </a:r>
            <a:r>
              <a:rPr lang="de-AT" b="1" dirty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!</a:t>
            </a:r>
          </a:p>
        </p:txBody>
      </p:sp>
      <p:pic>
        <p:nvPicPr>
          <p:cNvPr id="21" name="Grafik 20" descr="QR Code with Download Link for whitepaper.">
            <a:extLst>
              <a:ext uri="{FF2B5EF4-FFF2-40B4-BE49-F238E27FC236}">
                <a16:creationId xmlns:a16="http://schemas.microsoft.com/office/drawing/2014/main" id="{4F3A95E5-7C82-3CF4-77BB-E5E46910656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8583" y="3062531"/>
            <a:ext cx="2038858" cy="2038858"/>
          </a:xfrm>
          <a:prstGeom prst="rect">
            <a:avLst/>
          </a:prstGeom>
        </p:spPr>
      </p:pic>
      <p:sp>
        <p:nvSpPr>
          <p:cNvPr id="19" name="Inhaltsplatzhalter 1">
            <a:extLst>
              <a:ext uri="{FF2B5EF4-FFF2-40B4-BE49-F238E27FC236}">
                <a16:creationId xmlns:a16="http://schemas.microsoft.com/office/drawing/2014/main" id="{B412C03E-C878-8B25-4159-DBCF2B9E4468}"/>
              </a:ext>
            </a:extLst>
          </p:cNvPr>
          <p:cNvSpPr txBox="1">
            <a:spLocks/>
          </p:cNvSpPr>
          <p:nvPr/>
        </p:nvSpPr>
        <p:spPr>
          <a:xfrm>
            <a:off x="6805160" y="5206538"/>
            <a:ext cx="4548640" cy="709200"/>
          </a:xfrm>
          <a:prstGeom prst="rect">
            <a:avLst/>
          </a:prstGeom>
        </p:spPr>
        <p:txBody>
          <a:bodyPr/>
          <a:lstStyle>
            <a:lvl1pPr marL="0" indent="0" algn="l" defTabSz="685800" rtl="0" eaLnBrk="1" latinLnBrk="0" hangingPunct="1">
              <a:lnSpc>
                <a:spcPct val="80000"/>
              </a:lnSpc>
              <a:spcBef>
                <a:spcPts val="750"/>
              </a:spcBef>
              <a:buFont typeface="Arial" panose="020B0604020202020204" pitchFamily="34" charset="0"/>
              <a:buNone/>
              <a:defRPr sz="1800" b="0" kern="120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defRPr>
            </a:lvl1pPr>
            <a:lvl2pPr marL="182563" indent="-182563" algn="l" defTabSz="685800" rtl="0" eaLnBrk="1" latinLnBrk="0" hangingPunct="1">
              <a:lnSpc>
                <a:spcPct val="8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defRPr>
            </a:lvl2pPr>
            <a:lvl3pPr marL="358775" indent="-176213" algn="l" defTabSz="685800" rtl="0" eaLnBrk="1" latinLnBrk="0" hangingPunct="1">
              <a:lnSpc>
                <a:spcPct val="8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defRPr>
            </a:lvl3pPr>
            <a:lvl4pPr marL="538163" indent="-179388" algn="l" defTabSz="685800" rtl="0" eaLnBrk="1" latinLnBrk="0" hangingPunct="1">
              <a:lnSpc>
                <a:spcPct val="8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defRPr>
            </a:lvl4pPr>
            <a:lvl5pPr marL="715963" indent="-177800" algn="l" defTabSz="685800" rtl="0" eaLnBrk="1" latinLnBrk="0" hangingPunct="1">
              <a:lnSpc>
                <a:spcPct val="8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83"/>
            <a:r>
              <a:rPr lang="de-AT" dirty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https://www.myability.org/en/knowledge/whitepaper-esg-reporting-inclusion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BC0E84E-767E-0AB5-351E-A117BB9EB2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#ZeroCon25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2E6AB51-1231-961A-DD82-86A7C21456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95A9E4-2CE9-4E32-BE85-7C32F0F78A6D}" type="slidenum">
              <a:rPr lang="en-GB" smtClean="0"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1432171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608C328-C708-6D0C-1A9E-749F7DD0334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171670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6" imgH="416" progId="TCLayout.ActiveDocument.1">
                  <p:embed/>
                </p:oleObj>
              </mc:Choice>
              <mc:Fallback>
                <p:oleObj name="think-cell Folie" r:id="rId4" imgW="416" imgH="41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608C328-C708-6D0C-1A9E-749F7DD033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>
            <a:extLst>
              <a:ext uri="{FF2B5EF4-FFF2-40B4-BE49-F238E27FC236}">
                <a16:creationId xmlns:a16="http://schemas.microsoft.com/office/drawing/2014/main" id="{1D5E5BA5-0FB4-B54E-724E-A906BF7384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/>
          <a:lstStyle/>
          <a:p>
            <a:endParaRPr lang="en-US" dirty="0"/>
          </a:p>
        </p:txBody>
      </p:sp>
      <p:pic>
        <p:nvPicPr>
          <p:cNvPr id="2" name="Grafik 1" descr="Portrait of Anna Herzog. She has shoulder-long brown hair and glasses. Sie wears a white T-shirt with a black blazer.">
            <a:extLst>
              <a:ext uri="{FF2B5EF4-FFF2-40B4-BE49-F238E27FC236}">
                <a16:creationId xmlns:a16="http://schemas.microsoft.com/office/drawing/2014/main" id="{D643E557-956B-AE53-627D-A5B30730A708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06" r="2609" b="3"/>
          <a:stretch/>
        </p:blipFill>
        <p:spPr>
          <a:xfrm>
            <a:off x="1836823" y="1825625"/>
            <a:ext cx="3577389" cy="3004174"/>
          </a:xfrm>
          <a:prstGeom prst="rect">
            <a:avLst/>
          </a:prstGeom>
          <a:noFill/>
        </p:spPr>
      </p:pic>
      <p:sp>
        <p:nvSpPr>
          <p:cNvPr id="3" name="Textfeld 2">
            <a:extLst>
              <a:ext uri="{FF2B5EF4-FFF2-40B4-BE49-F238E27FC236}">
                <a16:creationId xmlns:a16="http://schemas.microsoft.com/office/drawing/2014/main" id="{507E1950-67F7-6386-7495-D624E7A35BF7}"/>
              </a:ext>
            </a:extLst>
          </p:cNvPr>
          <p:cNvSpPr txBox="1"/>
          <p:nvPr/>
        </p:nvSpPr>
        <p:spPr>
          <a:xfrm>
            <a:off x="6172200" y="1825625"/>
            <a:ext cx="5181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R="0" lvl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2800" b="0" i="0" u="none" strike="noStrike" cap="none" spc="0" normalizeH="0" baseline="0" noProof="0" dirty="0">
                <a:ln>
                  <a:noFill/>
                </a:ln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</a:rPr>
              <a:t>Anna Herzog (she/her)</a:t>
            </a:r>
          </a:p>
          <a:p>
            <a:pPr marR="0" lvl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2800" b="0" i="0" u="none" strike="noStrike" cap="none" spc="0" normalizeH="0" baseline="0" noProof="0" dirty="0">
              <a:ln>
                <a:noFill/>
              </a:ln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</a:endParaRPr>
          </a:p>
          <a:p>
            <a:pPr marR="0" lvl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2800" b="0" i="0" u="none" strike="noStrike" cap="none" spc="0" normalizeH="0" baseline="0" noProof="0" dirty="0">
                <a:ln>
                  <a:noFill/>
                </a:ln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</a:rPr>
              <a:t>Solutions Lead at </a:t>
            </a:r>
            <a:br>
              <a:rPr kumimoji="0" lang="en-US" sz="2800" b="0" i="0" u="none" strike="noStrike" cap="none" spc="0" normalizeH="0" baseline="0" noProof="0" dirty="0">
                <a:ln>
                  <a:noFill/>
                </a:ln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</a:rPr>
            </a:br>
            <a:r>
              <a:rPr kumimoji="0" lang="en-US" sz="2800" b="0" i="0" u="none" strike="noStrike" cap="none" spc="0" normalizeH="0" baseline="0" noProof="0" dirty="0">
                <a:ln>
                  <a:noFill/>
                </a:ln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</a:rPr>
              <a:t>myAbility Social Enterprise</a:t>
            </a:r>
          </a:p>
          <a:p>
            <a:pPr marR="0" lvl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2800" b="0" i="0" u="none" strike="noStrike" cap="none" spc="0" normalizeH="0" baseline="0" noProof="0" dirty="0">
                <a:ln>
                  <a:noFill/>
                </a:ln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</a:rPr>
              <a:t> </a:t>
            </a:r>
          </a:p>
          <a:p>
            <a:pPr marR="0" lvl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2800" b="0" i="0" u="none" strike="noStrike" cap="none" spc="0" normalizeH="0" baseline="0" noProof="0" dirty="0">
                <a:ln>
                  <a:noFill/>
                </a:ln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nna.herzog@myAbility.org</a:t>
            </a:r>
            <a:r>
              <a:rPr kumimoji="0" lang="en-US" sz="2800" b="0" i="0" u="none" strike="noStrike" cap="none" spc="0" normalizeH="0" baseline="0" noProof="0" dirty="0">
                <a:ln>
                  <a:noFill/>
                </a:ln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</a:rPr>
              <a:t>  </a:t>
            </a:r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58AAB1A2-56EE-EFDE-C2CD-9424168E87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/>
              <a:t>#ZeroCon25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A434FAB-DF78-BB7C-E7DD-18ED148378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</a:pPr>
            <a:fld id="{1195A9E4-2CE9-4E32-BE85-7C32F0F78A6D}" type="slidenum">
              <a:rPr lang="en-GB" smtClean="0"/>
              <a:pPr>
                <a:spcAft>
                  <a:spcPts val="600"/>
                </a:spcAft>
              </a:pPr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5623613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2044E7E-1F61-011A-F21F-D72A8DA611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93005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6" imgH="416" progId="TCLayout.ActiveDocument.1">
                  <p:embed/>
                </p:oleObj>
              </mc:Choice>
              <mc:Fallback>
                <p:oleObj name="think-cell Folie" r:id="rId4" imgW="416" imgH="41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2044E7E-1F61-011A-F21F-D72A8DA611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984F2D1-EB49-2606-F1B6-2378E88851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365125"/>
            <a:ext cx="10651959" cy="1325563"/>
          </a:xfrm>
        </p:spPr>
        <p:txBody>
          <a:bodyPr vert="horz">
            <a:normAutofit fontScale="90000"/>
          </a:bodyPr>
          <a:lstStyle/>
          <a:p>
            <a:r>
              <a:rPr lang="en-US" noProof="0" dirty="0"/>
              <a:t>Benefits of Measuring and Reporting</a:t>
            </a:r>
            <a:br>
              <a:rPr lang="en-US" noProof="0" dirty="0"/>
            </a:br>
            <a:r>
              <a:rPr lang="en-US" noProof="0" dirty="0"/>
              <a:t>Disability Inclusion within ESG Framework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45B411A-7AD1-6F76-1C8A-3023A78D4C6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5853" y="2092906"/>
            <a:ext cx="10515600" cy="4127420"/>
          </a:xfrm>
        </p:spPr>
        <p:txBody>
          <a:bodyPr>
            <a:normAutofit/>
          </a:bodyPr>
          <a:lstStyle/>
          <a:p>
            <a:pPr marL="514350" indent="-514350">
              <a:buFont typeface="+mj-lt"/>
              <a:buAutoNum type="arabicPeriod"/>
            </a:pPr>
            <a:r>
              <a:rPr lang="en-US" noProof="0" dirty="0"/>
              <a:t>KPIs will </a:t>
            </a:r>
            <a:r>
              <a:rPr lang="en-US" b="1" noProof="0" dirty="0"/>
              <a:t>highlight the importance </a:t>
            </a:r>
            <a:r>
              <a:rPr lang="en-US" noProof="0" dirty="0"/>
              <a:t>of disability inclusion within social sustainability &amp; ESG.</a:t>
            </a:r>
          </a:p>
          <a:p>
            <a:pPr marL="514350" indent="-514350">
              <a:buFont typeface="+mj-lt"/>
              <a:buAutoNum type="arabicPeriod"/>
            </a:pPr>
            <a:endParaRPr lang="en-US" noProof="0" dirty="0"/>
          </a:p>
          <a:p>
            <a:pPr marL="514350" indent="-514350">
              <a:buFont typeface="+mj-lt"/>
              <a:buAutoNum type="arabicPeriod"/>
            </a:pPr>
            <a:r>
              <a:rPr lang="en-US" dirty="0"/>
              <a:t>Standardized external reporting ensures quality of information, </a:t>
            </a:r>
            <a:r>
              <a:rPr lang="en-US" b="1" dirty="0"/>
              <a:t>transparency, comparability and credibility</a:t>
            </a:r>
            <a:r>
              <a:rPr lang="en-US" dirty="0"/>
              <a:t>. </a:t>
            </a:r>
          </a:p>
          <a:p>
            <a:pPr marL="514350" indent="-514350">
              <a:buFont typeface="+mj-lt"/>
              <a:buAutoNum type="arabicPeriod"/>
            </a:pPr>
            <a:endParaRPr lang="en-US" dirty="0"/>
          </a:p>
          <a:p>
            <a:pPr marL="514350" indent="-514350">
              <a:buFont typeface="+mj-lt"/>
              <a:buAutoNum type="arabicPeriod"/>
            </a:pPr>
            <a:r>
              <a:rPr lang="en-US" dirty="0"/>
              <a:t>Standardized internal reporting supports </a:t>
            </a:r>
            <a:r>
              <a:rPr lang="en-US" b="1" dirty="0"/>
              <a:t>strategy monitoring </a:t>
            </a:r>
            <a:r>
              <a:rPr lang="en-US" dirty="0"/>
              <a:t>and</a:t>
            </a:r>
            <a:r>
              <a:rPr lang="en-US" b="1" dirty="0"/>
              <a:t> </a:t>
            </a:r>
            <a:r>
              <a:rPr lang="en-US" dirty="0"/>
              <a:t>increases</a:t>
            </a:r>
            <a:r>
              <a:rPr lang="en-US" b="1" dirty="0"/>
              <a:t> efficiency of measures.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3894CB5-5141-5DCC-BD53-D00DF44D8F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/>
              <a:t>#ZeroCon25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C03B8EB-A43D-67A4-C821-FF9248DE4E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95A9E4-2CE9-4E32-BE85-7C32F0F78A6D}" type="slidenum">
              <a:rPr lang="en-US" noProof="0" smtClean="0"/>
              <a:pPr/>
              <a:t>3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7166249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1E2138E-094F-7123-965C-A989B1539B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41610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6" imgH="416" progId="TCLayout.ActiveDocument.1">
                  <p:embed/>
                </p:oleObj>
              </mc:Choice>
              <mc:Fallback>
                <p:oleObj name="think-cell Folie" r:id="rId4" imgW="416" imgH="41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1E2138E-094F-7123-965C-A989B1539B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981EABBF-97EF-F5BA-6780-C89BB60E8E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en-US" noProof="0" dirty="0"/>
              <a:t>Disability Inclusion KPIs for ESG Reporting: </a:t>
            </a:r>
            <a:br>
              <a:rPr lang="en-US" noProof="0" dirty="0"/>
            </a:br>
            <a:r>
              <a:rPr lang="en-US" noProof="0" dirty="0"/>
              <a:t>our holistic approach</a:t>
            </a:r>
          </a:p>
        </p:txBody>
      </p:sp>
      <p:grpSp>
        <p:nvGrpSpPr>
          <p:cNvPr id="49" name="Gruppieren 48" descr="Representation">
            <a:extLst>
              <a:ext uri="{FF2B5EF4-FFF2-40B4-BE49-F238E27FC236}">
                <a16:creationId xmlns:a16="http://schemas.microsoft.com/office/drawing/2014/main" id="{44668F1C-4B61-F184-F239-73F95A54C65B}"/>
              </a:ext>
            </a:extLst>
          </p:cNvPr>
          <p:cNvGrpSpPr>
            <a:grpSpLocks noChangeAspect="1"/>
          </p:cNvGrpSpPr>
          <p:nvPr/>
        </p:nvGrpSpPr>
        <p:grpSpPr>
          <a:xfrm>
            <a:off x="838201" y="2450627"/>
            <a:ext cx="1916838" cy="1916839"/>
            <a:chOff x="539749" y="1822901"/>
            <a:chExt cx="1655999" cy="1656000"/>
          </a:xfrm>
        </p:grpSpPr>
        <p:sp>
          <p:nvSpPr>
            <p:cNvPr id="50" name="Rechteck 49" descr="Textfeld Rechteck">
              <a:extLst>
                <a:ext uri="{FF2B5EF4-FFF2-40B4-BE49-F238E27FC236}">
                  <a16:creationId xmlns:a16="http://schemas.microsoft.com/office/drawing/2014/main" id="{731BD357-59BF-4876-7185-F5B1231EBD3A}"/>
                </a:ext>
              </a:extLst>
            </p:cNvPr>
            <p:cNvSpPr/>
            <p:nvPr/>
          </p:nvSpPr>
          <p:spPr>
            <a:xfrm>
              <a:off x="539749" y="1822901"/>
              <a:ext cx="1655999" cy="1656000"/>
            </a:xfrm>
            <a:custGeom>
              <a:avLst/>
              <a:gdLst>
                <a:gd name="connsiteX0" fmla="*/ 0 w 1655999"/>
                <a:gd name="connsiteY0" fmla="*/ 0 h 1656000"/>
                <a:gd name="connsiteX1" fmla="*/ 1655999 w 1655999"/>
                <a:gd name="connsiteY1" fmla="*/ 0 h 1656000"/>
                <a:gd name="connsiteX2" fmla="*/ 1655999 w 1655999"/>
                <a:gd name="connsiteY2" fmla="*/ 1656000 h 1656000"/>
                <a:gd name="connsiteX3" fmla="*/ 0 w 1655999"/>
                <a:gd name="connsiteY3" fmla="*/ 1656000 h 1656000"/>
                <a:gd name="connsiteX4" fmla="*/ 0 w 1655999"/>
                <a:gd name="connsiteY4" fmla="*/ 0 h 16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55999" h="1656000" fill="none" extrusionOk="0">
                  <a:moveTo>
                    <a:pt x="0" y="0"/>
                  </a:moveTo>
                  <a:cubicBezTo>
                    <a:pt x="446303" y="128038"/>
                    <a:pt x="865526" y="-142088"/>
                    <a:pt x="1655999" y="0"/>
                  </a:cubicBezTo>
                  <a:cubicBezTo>
                    <a:pt x="1634442" y="767233"/>
                    <a:pt x="1553831" y="1200680"/>
                    <a:pt x="1655999" y="1656000"/>
                  </a:cubicBezTo>
                  <a:cubicBezTo>
                    <a:pt x="1478126" y="1570749"/>
                    <a:pt x="457629" y="1556866"/>
                    <a:pt x="0" y="1656000"/>
                  </a:cubicBezTo>
                  <a:cubicBezTo>
                    <a:pt x="116450" y="1297321"/>
                    <a:pt x="-73337" y="285686"/>
                    <a:pt x="0" y="0"/>
                  </a:cubicBezTo>
                  <a:close/>
                </a:path>
                <a:path w="1655999" h="1656000" stroke="0" extrusionOk="0">
                  <a:moveTo>
                    <a:pt x="0" y="0"/>
                  </a:moveTo>
                  <a:cubicBezTo>
                    <a:pt x="526767" y="43533"/>
                    <a:pt x="1385241" y="73410"/>
                    <a:pt x="1655999" y="0"/>
                  </a:cubicBezTo>
                  <a:cubicBezTo>
                    <a:pt x="1783040" y="382826"/>
                    <a:pt x="1586340" y="843949"/>
                    <a:pt x="1655999" y="1656000"/>
                  </a:cubicBezTo>
                  <a:cubicBezTo>
                    <a:pt x="1063601" y="1738211"/>
                    <a:pt x="220745" y="1581698"/>
                    <a:pt x="0" y="1656000"/>
                  </a:cubicBezTo>
                  <a:cubicBezTo>
                    <a:pt x="127163" y="901725"/>
                    <a:pt x="85785" y="189064"/>
                    <a:pt x="0" y="0"/>
                  </a:cubicBezTo>
                  <a:close/>
                </a:path>
              </a:pathLst>
            </a:custGeom>
            <a:solidFill>
              <a:sysClr val="window" lastClr="FFFFFF">
                <a:lumMod val="50000"/>
              </a:sysClr>
            </a:solidFill>
            <a:ln w="12700" cap="flat" cmpd="sng" algn="ctr">
              <a:solidFill>
                <a:srgbClr val="1E3532"/>
              </a:solidFill>
              <a:prstDash val="solid"/>
              <a:miter lim="800000"/>
              <a:extLst>
                <a:ext uri="{C807C97D-BFC1-408E-A445-0C87EB9F89A2}">
                  <ask:lineSketchStyleProps xmlns:ask="http://schemas.microsoft.com/office/drawing/2018/sketchyshapes" sd="4293693065">
                    <a:prstGeom prst="rect">
                      <a:avLst/>
                    </a:prstGeom>
                    <ask:type>
                      <ask:lineSketchCurved/>
                    </ask:type>
                  </ask:lineSketchStyleProps>
                </a:ext>
              </a:extLst>
            </a:ln>
            <a:effectLst/>
          </p:spPr>
          <p:txBody>
            <a:bodyPr wrap="square" lIns="180000" tIns="144000" rIns="54000" bIns="108000" rtlCol="0" anchor="t" anchorCtr="0">
              <a:normAutofit/>
            </a:bodyPr>
            <a:lstStyle/>
            <a:p>
              <a:pPr marL="0" marR="0" lvl="0" indent="0" defTabSz="514350" eaLnBrk="1" fontAlgn="auto" latinLnBrk="0" hangingPunct="1">
                <a:lnSpc>
                  <a:spcPct val="80000"/>
                </a:lnSpc>
                <a:spcBef>
                  <a:spcPts val="281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Representation</a:t>
              </a:r>
            </a:p>
          </p:txBody>
        </p:sp>
        <p:pic>
          <p:nvPicPr>
            <p:cNvPr id="51" name="Grafik 50" descr="Gruppe von Frauen mit einfarbiger Füllung">
              <a:extLst>
                <a:ext uri="{FF2B5EF4-FFF2-40B4-BE49-F238E27FC236}">
                  <a16:creationId xmlns:a16="http://schemas.microsoft.com/office/drawing/2014/main" id="{4124E1F5-5AFA-ACF0-C982-52C98EB9FE2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575434" y="2876881"/>
              <a:ext cx="505040" cy="505040"/>
            </a:xfrm>
            <a:prstGeom prst="rect">
              <a:avLst/>
            </a:prstGeom>
          </p:spPr>
        </p:pic>
      </p:grpSp>
      <p:grpSp>
        <p:nvGrpSpPr>
          <p:cNvPr id="52" name="Gruppieren 51" descr="Accessibility">
            <a:extLst>
              <a:ext uri="{FF2B5EF4-FFF2-40B4-BE49-F238E27FC236}">
                <a16:creationId xmlns:a16="http://schemas.microsoft.com/office/drawing/2014/main" id="{75A55FE8-74CC-5832-217A-7D926CD30838}"/>
              </a:ext>
            </a:extLst>
          </p:cNvPr>
          <p:cNvGrpSpPr>
            <a:grpSpLocks noChangeAspect="1"/>
          </p:cNvGrpSpPr>
          <p:nvPr/>
        </p:nvGrpSpPr>
        <p:grpSpPr>
          <a:xfrm>
            <a:off x="2947457" y="2450627"/>
            <a:ext cx="1916839" cy="1916839"/>
            <a:chOff x="2507773" y="1822901"/>
            <a:chExt cx="1656000" cy="1656000"/>
          </a:xfrm>
        </p:grpSpPr>
        <p:sp>
          <p:nvSpPr>
            <p:cNvPr id="53" name="Rechteck 52" descr="Textfeld Rechteck">
              <a:extLst>
                <a:ext uri="{FF2B5EF4-FFF2-40B4-BE49-F238E27FC236}">
                  <a16:creationId xmlns:a16="http://schemas.microsoft.com/office/drawing/2014/main" id="{4228EEF0-24DD-6B1E-0CD5-027C917B5FD5}"/>
                </a:ext>
              </a:extLst>
            </p:cNvPr>
            <p:cNvSpPr/>
            <p:nvPr/>
          </p:nvSpPr>
          <p:spPr>
            <a:xfrm>
              <a:off x="2507773" y="1822901"/>
              <a:ext cx="1656000" cy="1656000"/>
            </a:xfrm>
            <a:custGeom>
              <a:avLst/>
              <a:gdLst>
                <a:gd name="connsiteX0" fmla="*/ 0 w 1656000"/>
                <a:gd name="connsiteY0" fmla="*/ 0 h 1656000"/>
                <a:gd name="connsiteX1" fmla="*/ 1656000 w 1656000"/>
                <a:gd name="connsiteY1" fmla="*/ 0 h 1656000"/>
                <a:gd name="connsiteX2" fmla="*/ 1656000 w 1656000"/>
                <a:gd name="connsiteY2" fmla="*/ 1656000 h 1656000"/>
                <a:gd name="connsiteX3" fmla="*/ 0 w 1656000"/>
                <a:gd name="connsiteY3" fmla="*/ 1656000 h 1656000"/>
                <a:gd name="connsiteX4" fmla="*/ 0 w 1656000"/>
                <a:gd name="connsiteY4" fmla="*/ 0 h 16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56000" h="1656000" fill="none" extrusionOk="0">
                  <a:moveTo>
                    <a:pt x="0" y="0"/>
                  </a:moveTo>
                  <a:cubicBezTo>
                    <a:pt x="445234" y="125684"/>
                    <a:pt x="863928" y="-142476"/>
                    <a:pt x="1656000" y="0"/>
                  </a:cubicBezTo>
                  <a:cubicBezTo>
                    <a:pt x="1634443" y="767233"/>
                    <a:pt x="1553832" y="1200680"/>
                    <a:pt x="1656000" y="1656000"/>
                  </a:cubicBezTo>
                  <a:cubicBezTo>
                    <a:pt x="1478717" y="1571348"/>
                    <a:pt x="459027" y="1559153"/>
                    <a:pt x="0" y="1656000"/>
                  </a:cubicBezTo>
                  <a:cubicBezTo>
                    <a:pt x="116450" y="1297321"/>
                    <a:pt x="-73337" y="285686"/>
                    <a:pt x="0" y="0"/>
                  </a:cubicBezTo>
                  <a:close/>
                </a:path>
                <a:path w="1656000" h="1656000" stroke="0" extrusionOk="0">
                  <a:moveTo>
                    <a:pt x="0" y="0"/>
                  </a:moveTo>
                  <a:cubicBezTo>
                    <a:pt x="525330" y="43060"/>
                    <a:pt x="1383756" y="72895"/>
                    <a:pt x="1656000" y="0"/>
                  </a:cubicBezTo>
                  <a:cubicBezTo>
                    <a:pt x="1783041" y="382826"/>
                    <a:pt x="1586341" y="843949"/>
                    <a:pt x="1656000" y="1656000"/>
                  </a:cubicBezTo>
                  <a:cubicBezTo>
                    <a:pt x="1063746" y="1740783"/>
                    <a:pt x="222891" y="1582535"/>
                    <a:pt x="0" y="1656000"/>
                  </a:cubicBezTo>
                  <a:cubicBezTo>
                    <a:pt x="127163" y="901725"/>
                    <a:pt x="85785" y="189064"/>
                    <a:pt x="0" y="0"/>
                  </a:cubicBezTo>
                  <a:close/>
                </a:path>
              </a:pathLst>
            </a:custGeom>
            <a:solidFill>
              <a:srgbClr val="1E3532">
                <a:lumMod val="75000"/>
                <a:lumOff val="25000"/>
              </a:srgbClr>
            </a:solidFill>
            <a:ln w="12700" cap="flat" cmpd="sng" algn="ctr">
              <a:solidFill>
                <a:srgbClr val="1E3532"/>
              </a:solidFill>
              <a:prstDash val="solid"/>
              <a:miter lim="800000"/>
              <a:extLst>
                <a:ext uri="{C807C97D-BFC1-408E-A445-0C87EB9F89A2}">
                  <ask:lineSketchStyleProps xmlns:ask="http://schemas.microsoft.com/office/drawing/2018/sketchyshapes" sd="4293693065">
                    <a:prstGeom prst="rect">
                      <a:avLst/>
                    </a:prstGeom>
                    <ask:type>
                      <ask:lineSketchCurved/>
                    </ask:type>
                  </ask:lineSketchStyleProps>
                </a:ext>
              </a:extLst>
            </a:ln>
            <a:effectLst/>
          </p:spPr>
          <p:txBody>
            <a:bodyPr wrap="square" lIns="180000" tIns="144000" rIns="54000" bIns="108000" rtlCol="0" anchor="t" anchorCtr="0">
              <a:normAutofit/>
            </a:bodyPr>
            <a:lstStyle/>
            <a:p>
              <a:pPr marL="0" marR="0" lvl="0" indent="0" defTabSz="514350" eaLnBrk="1" fontAlgn="auto" latinLnBrk="0" hangingPunct="1">
                <a:lnSpc>
                  <a:spcPct val="80000"/>
                </a:lnSpc>
                <a:spcBef>
                  <a:spcPts val="281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Accessibility</a:t>
              </a:r>
            </a:p>
          </p:txBody>
        </p:sp>
        <p:pic>
          <p:nvPicPr>
            <p:cNvPr id="54" name="Grafik 53">
              <a:extLst>
                <a:ext uri="{FF2B5EF4-FFF2-40B4-BE49-F238E27FC236}">
                  <a16:creationId xmlns:a16="http://schemas.microsoft.com/office/drawing/2014/main" id="{D7B9C333-61B6-8CDC-AF56-8C7BBFD7A32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99460" y="2836655"/>
              <a:ext cx="512819" cy="512819"/>
            </a:xfrm>
            <a:prstGeom prst="rect">
              <a:avLst/>
            </a:prstGeom>
          </p:spPr>
        </p:pic>
      </p:grpSp>
      <p:grpSp>
        <p:nvGrpSpPr>
          <p:cNvPr id="55" name="Gruppieren 54" descr="Awareness &amp; Competence">
            <a:extLst>
              <a:ext uri="{FF2B5EF4-FFF2-40B4-BE49-F238E27FC236}">
                <a16:creationId xmlns:a16="http://schemas.microsoft.com/office/drawing/2014/main" id="{AC1EE14C-E5CC-FD81-B7FF-7470545C2D22}"/>
              </a:ext>
            </a:extLst>
          </p:cNvPr>
          <p:cNvGrpSpPr>
            <a:grpSpLocks noChangeAspect="1"/>
          </p:cNvGrpSpPr>
          <p:nvPr/>
        </p:nvGrpSpPr>
        <p:grpSpPr>
          <a:xfrm>
            <a:off x="5056715" y="2450627"/>
            <a:ext cx="1916839" cy="1916839"/>
            <a:chOff x="4495120" y="1822901"/>
            <a:chExt cx="1656000" cy="1656000"/>
          </a:xfrm>
        </p:grpSpPr>
        <p:sp>
          <p:nvSpPr>
            <p:cNvPr id="56" name="Rechteck 55" descr="Textfeld Rechteck">
              <a:extLst>
                <a:ext uri="{FF2B5EF4-FFF2-40B4-BE49-F238E27FC236}">
                  <a16:creationId xmlns:a16="http://schemas.microsoft.com/office/drawing/2014/main" id="{FAB62F22-C05A-8B80-1AC8-EFD44E65F4BC}"/>
                </a:ext>
              </a:extLst>
            </p:cNvPr>
            <p:cNvSpPr/>
            <p:nvPr/>
          </p:nvSpPr>
          <p:spPr>
            <a:xfrm>
              <a:off x="4495120" y="1822901"/>
              <a:ext cx="1656000" cy="1656000"/>
            </a:xfrm>
            <a:custGeom>
              <a:avLst/>
              <a:gdLst>
                <a:gd name="connsiteX0" fmla="*/ 0 w 1656000"/>
                <a:gd name="connsiteY0" fmla="*/ 0 h 1656000"/>
                <a:gd name="connsiteX1" fmla="*/ 1656000 w 1656000"/>
                <a:gd name="connsiteY1" fmla="*/ 0 h 1656000"/>
                <a:gd name="connsiteX2" fmla="*/ 1656000 w 1656000"/>
                <a:gd name="connsiteY2" fmla="*/ 1656000 h 1656000"/>
                <a:gd name="connsiteX3" fmla="*/ 0 w 1656000"/>
                <a:gd name="connsiteY3" fmla="*/ 1656000 h 1656000"/>
                <a:gd name="connsiteX4" fmla="*/ 0 w 1656000"/>
                <a:gd name="connsiteY4" fmla="*/ 0 h 16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56000" h="1656000" fill="none" extrusionOk="0">
                  <a:moveTo>
                    <a:pt x="0" y="0"/>
                  </a:moveTo>
                  <a:cubicBezTo>
                    <a:pt x="445234" y="125684"/>
                    <a:pt x="863928" y="-142476"/>
                    <a:pt x="1656000" y="0"/>
                  </a:cubicBezTo>
                  <a:cubicBezTo>
                    <a:pt x="1634443" y="767233"/>
                    <a:pt x="1553832" y="1200680"/>
                    <a:pt x="1656000" y="1656000"/>
                  </a:cubicBezTo>
                  <a:cubicBezTo>
                    <a:pt x="1478717" y="1571348"/>
                    <a:pt x="459027" y="1559153"/>
                    <a:pt x="0" y="1656000"/>
                  </a:cubicBezTo>
                  <a:cubicBezTo>
                    <a:pt x="116450" y="1297321"/>
                    <a:pt x="-73337" y="285686"/>
                    <a:pt x="0" y="0"/>
                  </a:cubicBezTo>
                  <a:close/>
                </a:path>
                <a:path w="1656000" h="1656000" stroke="0" extrusionOk="0">
                  <a:moveTo>
                    <a:pt x="0" y="0"/>
                  </a:moveTo>
                  <a:cubicBezTo>
                    <a:pt x="525330" y="43060"/>
                    <a:pt x="1383756" y="72895"/>
                    <a:pt x="1656000" y="0"/>
                  </a:cubicBezTo>
                  <a:cubicBezTo>
                    <a:pt x="1783041" y="382826"/>
                    <a:pt x="1586341" y="843949"/>
                    <a:pt x="1656000" y="1656000"/>
                  </a:cubicBezTo>
                  <a:cubicBezTo>
                    <a:pt x="1063746" y="1740783"/>
                    <a:pt x="222891" y="1582535"/>
                    <a:pt x="0" y="1656000"/>
                  </a:cubicBezTo>
                  <a:cubicBezTo>
                    <a:pt x="127163" y="901725"/>
                    <a:pt x="85785" y="189064"/>
                    <a:pt x="0" y="0"/>
                  </a:cubicBezTo>
                  <a:close/>
                </a:path>
              </a:pathLst>
            </a:custGeom>
            <a:solidFill>
              <a:srgbClr val="863EE8"/>
            </a:solidFill>
            <a:ln w="12700" cap="flat" cmpd="sng" algn="ctr">
              <a:solidFill>
                <a:srgbClr val="1E3532"/>
              </a:solidFill>
              <a:prstDash val="solid"/>
              <a:miter lim="800000"/>
              <a:extLst>
                <a:ext uri="{C807C97D-BFC1-408E-A445-0C87EB9F89A2}">
                  <ask:lineSketchStyleProps xmlns:ask="http://schemas.microsoft.com/office/drawing/2018/sketchyshapes" sd="4293693065">
                    <a:prstGeom prst="rect">
                      <a:avLst/>
                    </a:prstGeom>
                    <ask:type>
                      <ask:lineSketchCurved/>
                    </ask:type>
                  </ask:lineSketchStyleProps>
                </a:ext>
              </a:extLst>
            </a:ln>
            <a:effectLst/>
          </p:spPr>
          <p:txBody>
            <a:bodyPr wrap="square" lIns="180000" tIns="144000" rIns="54000" bIns="108000" rtlCol="0" anchor="t" anchorCtr="0">
              <a:normAutofit/>
            </a:bodyPr>
            <a:lstStyle/>
            <a:p>
              <a:pPr marL="0" marR="0" lvl="0" indent="0" defTabSz="514350" eaLnBrk="1" fontAlgn="auto" latinLnBrk="0" hangingPunct="1">
                <a:lnSpc>
                  <a:spcPct val="80000"/>
                </a:lnSpc>
                <a:spcBef>
                  <a:spcPts val="281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Awareness &amp; Competence</a:t>
              </a:r>
            </a:p>
            <a:p>
              <a:pPr marL="0" marR="0" lvl="0" indent="0" defTabSz="514350" eaLnBrk="1" fontAlgn="auto" latinLnBrk="0" hangingPunct="1">
                <a:lnSpc>
                  <a:spcPct val="80000"/>
                </a:lnSpc>
                <a:spcBef>
                  <a:spcPts val="281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  <p:pic>
          <p:nvPicPr>
            <p:cNvPr id="57" name="Grafik 56">
              <a:extLst>
                <a:ext uri="{FF2B5EF4-FFF2-40B4-BE49-F238E27FC236}">
                  <a16:creationId xmlns:a16="http://schemas.microsoft.com/office/drawing/2014/main" id="{7712BAEE-2A7E-048C-924C-68604B415D9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5446545" y="2821124"/>
              <a:ext cx="584242" cy="584242"/>
            </a:xfrm>
            <a:prstGeom prst="rect">
              <a:avLst/>
            </a:prstGeom>
          </p:spPr>
        </p:pic>
      </p:grpSp>
      <p:grpSp>
        <p:nvGrpSpPr>
          <p:cNvPr id="58" name="Gruppieren 57" descr="HR &amp; Recruiting">
            <a:extLst>
              <a:ext uri="{FF2B5EF4-FFF2-40B4-BE49-F238E27FC236}">
                <a16:creationId xmlns:a16="http://schemas.microsoft.com/office/drawing/2014/main" id="{9B633EDD-4F12-0C6D-F160-BEFB738EAF8F}"/>
              </a:ext>
            </a:extLst>
          </p:cNvPr>
          <p:cNvGrpSpPr>
            <a:grpSpLocks noChangeAspect="1"/>
          </p:cNvGrpSpPr>
          <p:nvPr/>
        </p:nvGrpSpPr>
        <p:grpSpPr>
          <a:xfrm>
            <a:off x="7165973" y="2450627"/>
            <a:ext cx="1916839" cy="1916839"/>
            <a:chOff x="6482467" y="1822901"/>
            <a:chExt cx="1656000" cy="1656000"/>
          </a:xfrm>
        </p:grpSpPr>
        <p:sp>
          <p:nvSpPr>
            <p:cNvPr id="59" name="Rechteck 58" descr="HR &amp; Recruiting">
              <a:extLst>
                <a:ext uri="{FF2B5EF4-FFF2-40B4-BE49-F238E27FC236}">
                  <a16:creationId xmlns:a16="http://schemas.microsoft.com/office/drawing/2014/main" id="{DB3A4983-45DB-DFA4-A216-63B1BF34DBAA}"/>
                </a:ext>
              </a:extLst>
            </p:cNvPr>
            <p:cNvSpPr/>
            <p:nvPr/>
          </p:nvSpPr>
          <p:spPr>
            <a:xfrm>
              <a:off x="6482467" y="1822901"/>
              <a:ext cx="1656000" cy="1656000"/>
            </a:xfrm>
            <a:custGeom>
              <a:avLst/>
              <a:gdLst>
                <a:gd name="connsiteX0" fmla="*/ 0 w 1656000"/>
                <a:gd name="connsiteY0" fmla="*/ 0 h 1656000"/>
                <a:gd name="connsiteX1" fmla="*/ 1656000 w 1656000"/>
                <a:gd name="connsiteY1" fmla="*/ 0 h 1656000"/>
                <a:gd name="connsiteX2" fmla="*/ 1656000 w 1656000"/>
                <a:gd name="connsiteY2" fmla="*/ 1656000 h 1656000"/>
                <a:gd name="connsiteX3" fmla="*/ 0 w 1656000"/>
                <a:gd name="connsiteY3" fmla="*/ 1656000 h 1656000"/>
                <a:gd name="connsiteX4" fmla="*/ 0 w 1656000"/>
                <a:gd name="connsiteY4" fmla="*/ 0 h 16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56000" h="1656000" fill="none" extrusionOk="0">
                  <a:moveTo>
                    <a:pt x="0" y="0"/>
                  </a:moveTo>
                  <a:cubicBezTo>
                    <a:pt x="445234" y="125684"/>
                    <a:pt x="863928" y="-142476"/>
                    <a:pt x="1656000" y="0"/>
                  </a:cubicBezTo>
                  <a:cubicBezTo>
                    <a:pt x="1634443" y="767233"/>
                    <a:pt x="1553832" y="1200680"/>
                    <a:pt x="1656000" y="1656000"/>
                  </a:cubicBezTo>
                  <a:cubicBezTo>
                    <a:pt x="1478717" y="1571348"/>
                    <a:pt x="459027" y="1559153"/>
                    <a:pt x="0" y="1656000"/>
                  </a:cubicBezTo>
                  <a:cubicBezTo>
                    <a:pt x="116450" y="1297321"/>
                    <a:pt x="-73337" y="285686"/>
                    <a:pt x="0" y="0"/>
                  </a:cubicBezTo>
                  <a:close/>
                </a:path>
                <a:path w="1656000" h="1656000" stroke="0" extrusionOk="0">
                  <a:moveTo>
                    <a:pt x="0" y="0"/>
                  </a:moveTo>
                  <a:cubicBezTo>
                    <a:pt x="525330" y="43060"/>
                    <a:pt x="1383756" y="72895"/>
                    <a:pt x="1656000" y="0"/>
                  </a:cubicBezTo>
                  <a:cubicBezTo>
                    <a:pt x="1783041" y="382826"/>
                    <a:pt x="1586341" y="843949"/>
                    <a:pt x="1656000" y="1656000"/>
                  </a:cubicBezTo>
                  <a:cubicBezTo>
                    <a:pt x="1063746" y="1740783"/>
                    <a:pt x="222891" y="1582535"/>
                    <a:pt x="0" y="1656000"/>
                  </a:cubicBezTo>
                  <a:cubicBezTo>
                    <a:pt x="127163" y="901725"/>
                    <a:pt x="85785" y="189064"/>
                    <a:pt x="0" y="0"/>
                  </a:cubicBezTo>
                  <a:close/>
                </a:path>
              </a:pathLst>
            </a:custGeom>
            <a:solidFill>
              <a:srgbClr val="59BD7B">
                <a:lumMod val="75000"/>
              </a:srgbClr>
            </a:solidFill>
            <a:ln w="12700" cap="flat" cmpd="sng" algn="ctr">
              <a:solidFill>
                <a:srgbClr val="1E3532"/>
              </a:solidFill>
              <a:prstDash val="solid"/>
              <a:miter lim="800000"/>
              <a:extLst>
                <a:ext uri="{C807C97D-BFC1-408E-A445-0C87EB9F89A2}">
                  <ask:lineSketchStyleProps xmlns:ask="http://schemas.microsoft.com/office/drawing/2018/sketchyshapes" sd="4293693065">
                    <a:prstGeom prst="rect">
                      <a:avLst/>
                    </a:prstGeom>
                    <ask:type>
                      <ask:lineSketchCurved/>
                    </ask:type>
                  </ask:lineSketchStyleProps>
                </a:ext>
              </a:extLst>
            </a:ln>
            <a:effectLst/>
          </p:spPr>
          <p:txBody>
            <a:bodyPr wrap="square" lIns="180000" tIns="144000" rIns="54000" bIns="108000" rtlCol="0" anchor="t" anchorCtr="0">
              <a:normAutofit/>
            </a:bodyPr>
            <a:lstStyle/>
            <a:p>
              <a:pPr marL="0" marR="0" lvl="0" indent="0" defTabSz="514350" eaLnBrk="1" fontAlgn="auto" latinLnBrk="0" hangingPunct="1">
                <a:lnSpc>
                  <a:spcPct val="80000"/>
                </a:lnSpc>
                <a:spcBef>
                  <a:spcPts val="281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HR &amp; Recruiting</a:t>
              </a:r>
            </a:p>
            <a:p>
              <a:pPr marL="0" marR="0" lvl="0" indent="0" defTabSz="514350" eaLnBrk="1" fontAlgn="auto" latinLnBrk="0" hangingPunct="1">
                <a:lnSpc>
                  <a:spcPct val="80000"/>
                </a:lnSpc>
                <a:spcBef>
                  <a:spcPts val="281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endParaRPr>
            </a:p>
            <a:p>
              <a:pPr marL="0" marR="0" lvl="0" indent="0" defTabSz="514350" eaLnBrk="1" fontAlgn="auto" latinLnBrk="0" hangingPunct="1">
                <a:lnSpc>
                  <a:spcPct val="80000"/>
                </a:lnSpc>
                <a:spcBef>
                  <a:spcPts val="281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  <p:pic>
          <p:nvPicPr>
            <p:cNvPr id="60" name="Grafik 59">
              <a:extLst>
                <a:ext uri="{FF2B5EF4-FFF2-40B4-BE49-F238E27FC236}">
                  <a16:creationId xmlns:a16="http://schemas.microsoft.com/office/drawing/2014/main" id="{FFFB20FA-E3BC-99FF-9362-6D7074B9C93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7462231" y="2825875"/>
              <a:ext cx="579492" cy="579492"/>
            </a:xfrm>
            <a:prstGeom prst="rect">
              <a:avLst/>
            </a:prstGeom>
          </p:spPr>
        </p:pic>
      </p:grpSp>
      <p:grpSp>
        <p:nvGrpSpPr>
          <p:cNvPr id="61" name="Gruppieren 60" descr="Network">
            <a:extLst>
              <a:ext uri="{FF2B5EF4-FFF2-40B4-BE49-F238E27FC236}">
                <a16:creationId xmlns:a16="http://schemas.microsoft.com/office/drawing/2014/main" id="{000E0D9D-0B9C-F9E7-82CB-8E2CB0C4C9E9}"/>
              </a:ext>
            </a:extLst>
          </p:cNvPr>
          <p:cNvGrpSpPr>
            <a:grpSpLocks noChangeAspect="1"/>
          </p:cNvGrpSpPr>
          <p:nvPr/>
        </p:nvGrpSpPr>
        <p:grpSpPr>
          <a:xfrm>
            <a:off x="9275229" y="2450627"/>
            <a:ext cx="1916839" cy="1916839"/>
            <a:chOff x="8469815" y="1822901"/>
            <a:chExt cx="1656000" cy="1656000"/>
          </a:xfrm>
        </p:grpSpPr>
        <p:sp>
          <p:nvSpPr>
            <p:cNvPr id="62" name="Rechteck 61" descr="Textfeld Rechteck">
              <a:extLst>
                <a:ext uri="{FF2B5EF4-FFF2-40B4-BE49-F238E27FC236}">
                  <a16:creationId xmlns:a16="http://schemas.microsoft.com/office/drawing/2014/main" id="{906AA2BE-7277-8542-DDE3-3CD7595285B9}"/>
                </a:ext>
              </a:extLst>
            </p:cNvPr>
            <p:cNvSpPr/>
            <p:nvPr/>
          </p:nvSpPr>
          <p:spPr>
            <a:xfrm>
              <a:off x="8469815" y="1822901"/>
              <a:ext cx="1656000" cy="1656000"/>
            </a:xfrm>
            <a:custGeom>
              <a:avLst/>
              <a:gdLst>
                <a:gd name="connsiteX0" fmla="*/ 0 w 1656000"/>
                <a:gd name="connsiteY0" fmla="*/ 0 h 1656000"/>
                <a:gd name="connsiteX1" fmla="*/ 1656000 w 1656000"/>
                <a:gd name="connsiteY1" fmla="*/ 0 h 1656000"/>
                <a:gd name="connsiteX2" fmla="*/ 1656000 w 1656000"/>
                <a:gd name="connsiteY2" fmla="*/ 1656000 h 1656000"/>
                <a:gd name="connsiteX3" fmla="*/ 0 w 1656000"/>
                <a:gd name="connsiteY3" fmla="*/ 1656000 h 1656000"/>
                <a:gd name="connsiteX4" fmla="*/ 0 w 1656000"/>
                <a:gd name="connsiteY4" fmla="*/ 0 h 16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56000" h="1656000" fill="none" extrusionOk="0">
                  <a:moveTo>
                    <a:pt x="0" y="0"/>
                  </a:moveTo>
                  <a:cubicBezTo>
                    <a:pt x="445234" y="125684"/>
                    <a:pt x="863928" y="-142476"/>
                    <a:pt x="1656000" y="0"/>
                  </a:cubicBezTo>
                  <a:cubicBezTo>
                    <a:pt x="1634443" y="767233"/>
                    <a:pt x="1553832" y="1200680"/>
                    <a:pt x="1656000" y="1656000"/>
                  </a:cubicBezTo>
                  <a:cubicBezTo>
                    <a:pt x="1478717" y="1571348"/>
                    <a:pt x="459027" y="1559153"/>
                    <a:pt x="0" y="1656000"/>
                  </a:cubicBezTo>
                  <a:cubicBezTo>
                    <a:pt x="116450" y="1297321"/>
                    <a:pt x="-73337" y="285686"/>
                    <a:pt x="0" y="0"/>
                  </a:cubicBezTo>
                  <a:close/>
                </a:path>
                <a:path w="1656000" h="1656000" stroke="0" extrusionOk="0">
                  <a:moveTo>
                    <a:pt x="0" y="0"/>
                  </a:moveTo>
                  <a:cubicBezTo>
                    <a:pt x="525330" y="43060"/>
                    <a:pt x="1383756" y="72895"/>
                    <a:pt x="1656000" y="0"/>
                  </a:cubicBezTo>
                  <a:cubicBezTo>
                    <a:pt x="1783041" y="382826"/>
                    <a:pt x="1586341" y="843949"/>
                    <a:pt x="1656000" y="1656000"/>
                  </a:cubicBezTo>
                  <a:cubicBezTo>
                    <a:pt x="1063746" y="1740783"/>
                    <a:pt x="222891" y="1582535"/>
                    <a:pt x="0" y="1656000"/>
                  </a:cubicBezTo>
                  <a:cubicBezTo>
                    <a:pt x="127163" y="901725"/>
                    <a:pt x="85785" y="189064"/>
                    <a:pt x="0" y="0"/>
                  </a:cubicBezTo>
                  <a:close/>
                </a:path>
              </a:pathLst>
            </a:custGeom>
            <a:solidFill>
              <a:srgbClr val="863EE8">
                <a:lumMod val="40000"/>
                <a:lumOff val="60000"/>
              </a:srgbClr>
            </a:solidFill>
            <a:ln w="12700" cap="flat" cmpd="sng" algn="ctr">
              <a:solidFill>
                <a:srgbClr val="1E3532"/>
              </a:solidFill>
              <a:prstDash val="solid"/>
              <a:miter lim="800000"/>
              <a:extLst>
                <a:ext uri="{C807C97D-BFC1-408E-A445-0C87EB9F89A2}">
                  <ask:lineSketchStyleProps xmlns:ask="http://schemas.microsoft.com/office/drawing/2018/sketchyshapes" sd="4293693065">
                    <a:prstGeom prst="rect">
                      <a:avLst/>
                    </a:prstGeom>
                    <ask:type>
                      <ask:lineSketchCurved/>
                    </ask:type>
                  </ask:lineSketchStyleProps>
                </a:ext>
              </a:extLst>
            </a:ln>
            <a:effectLst/>
          </p:spPr>
          <p:txBody>
            <a:bodyPr wrap="square" lIns="180000" tIns="144000" rIns="54000" bIns="108000" rtlCol="0" anchor="t" anchorCtr="0">
              <a:normAutofit/>
            </a:bodyPr>
            <a:lstStyle/>
            <a:p>
              <a:pPr marL="0" marR="0" lvl="0" indent="0" defTabSz="514350" eaLnBrk="1" fontAlgn="auto" latinLnBrk="0" hangingPunct="1">
                <a:lnSpc>
                  <a:spcPct val="80000"/>
                </a:lnSpc>
                <a:spcBef>
                  <a:spcPts val="281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i="0" u="none" strike="noStrike" kern="0" cap="none" spc="0" normalizeH="0" baseline="0" noProof="0" dirty="0">
                  <a:ln>
                    <a:noFill/>
                  </a:ln>
                  <a:solidFill>
                    <a:srgbClr val="282828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Network</a:t>
              </a:r>
            </a:p>
          </p:txBody>
        </p:sp>
        <p:pic>
          <p:nvPicPr>
            <p:cNvPr id="63" name="Grafik 62">
              <a:extLst>
                <a:ext uri="{FF2B5EF4-FFF2-40B4-BE49-F238E27FC236}">
                  <a16:creationId xmlns:a16="http://schemas.microsoft.com/office/drawing/2014/main" id="{B57EC351-0F0E-9C92-AE26-5264878166D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9468418" y="2821124"/>
              <a:ext cx="584242" cy="584242"/>
            </a:xfrm>
            <a:prstGeom prst="rect">
              <a:avLst/>
            </a:prstGeom>
          </p:spPr>
        </p:pic>
      </p:grpSp>
      <p:pic>
        <p:nvPicPr>
          <p:cNvPr id="64" name="Picture 2" descr="EFRAG logo">
            <a:extLst>
              <a:ext uri="{FF2B5EF4-FFF2-40B4-BE49-F238E27FC236}">
                <a16:creationId xmlns:a16="http://schemas.microsoft.com/office/drawing/2014/main" id="{73311F5C-755D-6393-3E6E-D5875D90C1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4543" y="5432799"/>
            <a:ext cx="1939960" cy="5682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5" name="Picture 2" descr="Fundación ONCE Logo">
            <a:extLst>
              <a:ext uri="{FF2B5EF4-FFF2-40B4-BE49-F238E27FC236}">
                <a16:creationId xmlns:a16="http://schemas.microsoft.com/office/drawing/2014/main" id="{A559697D-361D-2133-6824-F9D6B8E3FD4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05652" y="5431334"/>
            <a:ext cx="1835108" cy="5706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6" name="Grafik 65" descr="Global Reporting Initiative Logo">
            <a:extLst>
              <a:ext uri="{FF2B5EF4-FFF2-40B4-BE49-F238E27FC236}">
                <a16:creationId xmlns:a16="http://schemas.microsoft.com/office/drawing/2014/main" id="{35C497E7-A534-FEC6-6457-676945237D6A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5461909" y="5389646"/>
            <a:ext cx="637329" cy="637329"/>
          </a:xfrm>
          <a:prstGeom prst="rect">
            <a:avLst/>
          </a:prstGeom>
        </p:spPr>
      </p:pic>
      <p:pic>
        <p:nvPicPr>
          <p:cNvPr id="67" name="Picture 6" descr="ILO Global Business and Disability Network Logo">
            <a:extLst>
              <a:ext uri="{FF2B5EF4-FFF2-40B4-BE49-F238E27FC236}">
                <a16:creationId xmlns:a16="http://schemas.microsoft.com/office/drawing/2014/main" id="{37F5F47D-0CBD-93B4-1193-23A55D0F661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20387" y="5431334"/>
            <a:ext cx="2777999" cy="5706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8" name="Picture 4" descr="Valuable 500 Logo">
            <a:extLst>
              <a:ext uri="{FF2B5EF4-FFF2-40B4-BE49-F238E27FC236}">
                <a16:creationId xmlns:a16="http://schemas.microsoft.com/office/drawing/2014/main" id="{BB83DC09-976F-ABDA-D1DE-67830E0FFB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19534" y="5431334"/>
            <a:ext cx="1494279" cy="5706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870EEC0-948E-E549-7093-C71352E9CE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#ZeroCon25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D915735-1FE5-B888-B26A-E7AC1EBA6F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95A9E4-2CE9-4E32-BE85-7C32F0F78A6D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6301182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2797AF5B-12A3-11AF-4770-526A422E072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87371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797AF5B-12A3-11AF-4770-526A422E07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6EBDA54-98ED-04D4-CEF3-9B256DE538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Best Practice: </a:t>
            </a:r>
            <a:r>
              <a:rPr lang="de-DE" dirty="0" err="1"/>
              <a:t>Representation</a:t>
            </a:r>
            <a:endParaRPr lang="de-DE" dirty="0"/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4599CDF3-975A-2842-9B7F-8C1872B09309}"/>
              </a:ext>
            </a:extLst>
          </p:cNvPr>
          <p:cNvSpPr txBox="1">
            <a:spLocks/>
          </p:cNvSpPr>
          <p:nvPr/>
        </p:nvSpPr>
        <p:spPr>
          <a:xfrm>
            <a:off x="2707104" y="2550695"/>
            <a:ext cx="8646695" cy="36262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dirty="0"/>
              <a:t>Specify representation of people with disabilities </a:t>
            </a:r>
            <a:r>
              <a:rPr lang="en-US" b="1" dirty="0"/>
              <a:t>at management level</a:t>
            </a:r>
            <a:r>
              <a:rPr lang="en-US" dirty="0"/>
              <a:t>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US" dirty="0"/>
              <a:t>Ensure </a:t>
            </a:r>
            <a:r>
              <a:rPr lang="en-US" b="1" dirty="0"/>
              <a:t>regular</a:t>
            </a:r>
            <a:r>
              <a:rPr lang="en-US" dirty="0"/>
              <a:t> and transparent </a:t>
            </a:r>
            <a:r>
              <a:rPr lang="en-US" b="1" dirty="0"/>
              <a:t>reporting</a:t>
            </a:r>
            <a:r>
              <a:rPr lang="en-US" dirty="0"/>
              <a:t> of representation KPIs </a:t>
            </a:r>
            <a:r>
              <a:rPr lang="en-US" b="1" dirty="0"/>
              <a:t>for (hiring) managers</a:t>
            </a:r>
            <a:r>
              <a:rPr lang="en-US" dirty="0"/>
              <a:t>.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3AF1D1F-8E6D-7DD5-C5F9-64F3841071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#ZeroCon25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479EE04-B776-9A40-DA30-7884AC0778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95A9E4-2CE9-4E32-BE85-7C32F0F78A6D}" type="slidenum">
              <a:rPr lang="en-GB" smtClean="0"/>
              <a:t>5</a:t>
            </a:fld>
            <a:endParaRPr lang="en-GB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C09650E3-5249-FFEC-4721-C2B7346664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49018" y="2494171"/>
            <a:ext cx="914400" cy="914400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07C439A2-174E-4862-D347-0F0851C5D9D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576139" y="3870533"/>
            <a:ext cx="914400" cy="914400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7A438383-5F02-52EA-6450-E78F4602939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21896" y="3870533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930612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F98F4C4-55FB-BE85-9401-2273B04371F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4A3917AE-44D3-959A-F931-C2F7C760E50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0029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A3917AE-44D3-959A-F931-C2F7C760E5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22F45EC-32CC-5F1F-A0D3-2B16470BDD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Best Practice: Accessibility</a:t>
            </a:r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FC9BFBC2-8BDB-4803-180D-9A6F57A0AF51}"/>
              </a:ext>
            </a:extLst>
          </p:cNvPr>
          <p:cNvSpPr txBox="1">
            <a:spLocks/>
          </p:cNvSpPr>
          <p:nvPr/>
        </p:nvSpPr>
        <p:spPr>
          <a:xfrm>
            <a:off x="2707104" y="2550695"/>
            <a:ext cx="8646695" cy="36262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dirty="0"/>
              <a:t>Include offers on </a:t>
            </a:r>
            <a:r>
              <a:rPr lang="en-US" b="1" dirty="0"/>
              <a:t>flexible workplaces </a:t>
            </a:r>
            <a:r>
              <a:rPr lang="en-US" dirty="0"/>
              <a:t>as well as flexible </a:t>
            </a:r>
            <a:r>
              <a:rPr lang="en-US" b="1" dirty="0"/>
              <a:t>working hours</a:t>
            </a:r>
            <a:r>
              <a:rPr lang="en-US" dirty="0"/>
              <a:t>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US" dirty="0"/>
              <a:t>Specify the accessibility of </a:t>
            </a:r>
            <a:r>
              <a:rPr lang="en-US" b="1" dirty="0"/>
              <a:t>process for workplace adjustments</a:t>
            </a:r>
            <a:r>
              <a:rPr lang="en-US" dirty="0"/>
              <a:t> and how this offer is communicated.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351F0FE-DAC6-F141-E558-DFA0DB71FA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#ZeroCon25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D3E02A6-9EE3-AC23-682A-22118D457B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95A9E4-2CE9-4E32-BE85-7C32F0F78A6D}" type="slidenum">
              <a:rPr lang="en-GB" smtClean="0"/>
              <a:t>6</a:t>
            </a:fld>
            <a:endParaRPr lang="en-GB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EB23622E-D4F1-ED31-AF7D-3F26D27514B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49018" y="2494171"/>
            <a:ext cx="914400" cy="914400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BE77BB68-40CC-331E-F231-9CE04D64E2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576139" y="3870533"/>
            <a:ext cx="914400" cy="914400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0E939694-970D-1415-C3B2-D50F1119839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21896" y="3870533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162417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94FC3FA-9764-E331-4E32-AA7F891D823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4015B735-FF67-69B5-89BA-DFA3F3B1785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575144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015B735-FF67-69B5-89BA-DFA3F3B178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F4A1E2D-D54E-E7B6-AE06-6A19B5A2AB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Best Practice: Awareness &amp; Competenc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59024BA-EF3E-2A32-013F-7E8E3558FE3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707104" y="2550695"/>
            <a:ext cx="8646695" cy="3626268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Include </a:t>
            </a:r>
            <a:r>
              <a:rPr lang="en-US" b="1" dirty="0"/>
              <a:t>target group </a:t>
            </a:r>
            <a:r>
              <a:rPr lang="en-US" dirty="0"/>
              <a:t>of trainings and whether they are </a:t>
            </a:r>
            <a:r>
              <a:rPr lang="en-US" b="1" dirty="0"/>
              <a:t>voluntary or compulsory</a:t>
            </a:r>
            <a:r>
              <a:rPr lang="en-US" dirty="0"/>
              <a:t>.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dirty="0"/>
              <a:t>Conduct </a:t>
            </a:r>
            <a:r>
              <a:rPr lang="en-US" b="1" dirty="0"/>
              <a:t>Impact Analysis </a:t>
            </a:r>
            <a:r>
              <a:rPr lang="en-US" dirty="0"/>
              <a:t>of training measures to make </a:t>
            </a:r>
            <a:r>
              <a:rPr lang="en-US" b="1" dirty="0"/>
              <a:t>changes</a:t>
            </a:r>
            <a:r>
              <a:rPr lang="en-US" dirty="0"/>
              <a:t> in the perception and thinking of the participants visible.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20A8061-F916-5159-E570-F5EA95D2A7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#ZeroCon25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BB4A177-8B97-171A-3748-00E77B5596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95A9E4-2CE9-4E32-BE85-7C32F0F78A6D}" type="slidenum">
              <a:rPr lang="en-GB" smtClean="0"/>
              <a:t>7</a:t>
            </a:fld>
            <a:endParaRPr lang="en-GB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E6023EBA-91D4-497A-C770-4A82BAA642F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49018" y="2494171"/>
            <a:ext cx="914400" cy="914400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E5F4D455-545D-CE02-CC56-0A4BC53436B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576139" y="3870533"/>
            <a:ext cx="914400" cy="914400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7FA31575-EE10-86EB-92B1-B61076BD652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21896" y="3870533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132992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E3DD5EB-892F-9D7D-1B67-FC23BB46D48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B9EE15F8-390A-3F17-3148-029E5E74BEF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084737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9EE15F8-390A-3F17-3148-029E5E74BE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E38C12D-7823-DF9D-9868-A9F22F2386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Best Practice: HR &amp; Recruiting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A138216-9C14-785E-4DE9-7769FCD150B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707104" y="2550695"/>
            <a:ext cx="8646695" cy="3626268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Specify ways of contact for </a:t>
            </a:r>
            <a:r>
              <a:rPr lang="en-US" b="1" dirty="0"/>
              <a:t>accommodation needs </a:t>
            </a:r>
            <a:r>
              <a:rPr lang="en-US" dirty="0"/>
              <a:t>during the recruiting process.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dirty="0"/>
              <a:t>List measures to increase </a:t>
            </a:r>
            <a:r>
              <a:rPr lang="en-US" b="1" dirty="0"/>
              <a:t>(digital) accessibility </a:t>
            </a:r>
            <a:r>
              <a:rPr lang="en-US" dirty="0"/>
              <a:t>along the recruiting process.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8C4D5E5-8009-A719-5B70-F07C5E7FD7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#ZeroCon25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F0CC26B-2B3E-9425-BAFE-DF09D27252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95A9E4-2CE9-4E32-BE85-7C32F0F78A6D}" type="slidenum">
              <a:rPr lang="en-GB" smtClean="0"/>
              <a:t>8</a:t>
            </a:fld>
            <a:endParaRPr lang="en-GB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37B4B529-62D5-C1C5-9A18-FC7A1BD7A2B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49018" y="2494171"/>
            <a:ext cx="914400" cy="914400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C2D44621-2F3B-C740-F0DF-D0A0EDA0FEB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576139" y="3870533"/>
            <a:ext cx="914400" cy="914400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AA4471AB-7FC1-7D57-EFDD-4E691E4E896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21896" y="3870533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290753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1E098D4-E3DD-BFED-D907-5F7DE1EE7B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E3D72410-DA1E-4BAD-4B76-693AB839C6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17372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3D72410-DA1E-4BAD-4B76-693AB839C6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06BEBFD-0173-D93E-DA9D-CFDFCF66FA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Best Practice: Network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A73F0D1-70C3-AE84-24E6-ACDB271ADB9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707104" y="2550695"/>
            <a:ext cx="8646695" cy="3626268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Include </a:t>
            </a:r>
            <a:r>
              <a:rPr lang="en-US" b="1" dirty="0"/>
              <a:t>resources </a:t>
            </a:r>
            <a:r>
              <a:rPr lang="en-US" dirty="0"/>
              <a:t>for employee network / ERG (e.g. sponsorship, % of working time).</a:t>
            </a:r>
          </a:p>
          <a:p>
            <a:endParaRPr lang="en-US" dirty="0">
              <a:highlight>
                <a:srgbClr val="FFFF00"/>
              </a:highlight>
            </a:endParaRPr>
          </a:p>
          <a:p>
            <a:pPr marL="0" indent="0">
              <a:buNone/>
            </a:pPr>
            <a:r>
              <a:rPr lang="en-US" dirty="0"/>
              <a:t>Specify </a:t>
            </a:r>
            <a:r>
              <a:rPr lang="en-US" b="1" dirty="0"/>
              <a:t>mission</a:t>
            </a:r>
            <a:r>
              <a:rPr lang="en-US" dirty="0"/>
              <a:t> and </a:t>
            </a:r>
            <a:r>
              <a:rPr lang="en-US" b="1" dirty="0"/>
              <a:t>scope of action </a:t>
            </a:r>
            <a:r>
              <a:rPr lang="en-US" dirty="0"/>
              <a:t>for employee network / ERG.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CC72E37-322C-91CB-3C8A-08CF010CC7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#ZeroCon25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62F1CB4-B279-421E-69E5-5A17E96385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95A9E4-2CE9-4E32-BE85-7C32F0F78A6D}" type="slidenum">
              <a:rPr lang="en-GB" smtClean="0"/>
              <a:t>9</a:t>
            </a:fld>
            <a:endParaRPr lang="en-GB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8BD29B88-3AD9-A346-298F-A9AAB1840FE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49018" y="2494171"/>
            <a:ext cx="914400" cy="914400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1C732E1A-BDD6-4EA6-7FA2-D2F9B6BC7CC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576139" y="3870533"/>
            <a:ext cx="914400" cy="914400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E7BBB5A8-26D5-DCCC-71FB-C35CB4889BD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21896" y="3870533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309456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24</Words>
  <Application>Microsoft Office PowerPoint</Application>
  <PresentationFormat>Breitbild</PresentationFormat>
  <Paragraphs>75</Paragraphs>
  <Slides>10</Slides>
  <Notes>4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0</vt:i4>
      </vt:variant>
    </vt:vector>
  </HeadingPairs>
  <TitlesOfParts>
    <vt:vector size="15" baseType="lpstr">
      <vt:lpstr>Arial</vt:lpstr>
      <vt:lpstr>Calibri</vt:lpstr>
      <vt:lpstr>Roboto</vt:lpstr>
      <vt:lpstr>Office Theme</vt:lpstr>
      <vt:lpstr>think-cell Folie</vt:lpstr>
      <vt:lpstr>Reporting Disability Inclusion within ESG Frameworks</vt:lpstr>
      <vt:lpstr>PowerPoint-Präsentation</vt:lpstr>
      <vt:lpstr>Benefits of Measuring and Reporting Disability Inclusion within ESG Frameworks</vt:lpstr>
      <vt:lpstr>Disability Inclusion KPIs for ESG Reporting:  our holistic approach</vt:lpstr>
      <vt:lpstr>Best Practice: Representation</vt:lpstr>
      <vt:lpstr>Best Practice: Accessibility</vt:lpstr>
      <vt:lpstr>Best Practice: Awareness &amp; Competence</vt:lpstr>
      <vt:lpstr>Best Practice: HR &amp; Recruiting</vt:lpstr>
      <vt:lpstr>Best Practice: Network</vt:lpstr>
      <vt:lpstr>Find more details in our whitepaper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aterina Stanton Balazs</dc:creator>
  <cp:lastModifiedBy>Anna Herzog</cp:lastModifiedBy>
  <cp:revision>17</cp:revision>
  <dcterms:created xsi:type="dcterms:W3CDTF">2022-12-05T13:52:15Z</dcterms:created>
  <dcterms:modified xsi:type="dcterms:W3CDTF">2025-02-18T09:24:16Z</dcterms:modified>
</cp:coreProperties>
</file>